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3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54" r:id="rId4"/>
    <p:sldMasterId id="2147483884" r:id="rId5"/>
    <p:sldMasterId id="2147483910" r:id="rId6"/>
    <p:sldMasterId id="2147484496" r:id="rId7"/>
    <p:sldMasterId id="2147484508" r:id="rId8"/>
    <p:sldMasterId id="2147484581" r:id="rId9"/>
  </p:sldMasterIdLst>
  <p:notesMasterIdLst>
    <p:notesMasterId r:id="rId29"/>
  </p:notesMasterIdLst>
  <p:handoutMasterIdLst>
    <p:handoutMasterId r:id="rId30"/>
  </p:handoutMasterIdLst>
  <p:sldIdLst>
    <p:sldId id="256" r:id="rId10"/>
    <p:sldId id="2147482129" r:id="rId11"/>
    <p:sldId id="2147375962" r:id="rId12"/>
    <p:sldId id="2147375970" r:id="rId13"/>
    <p:sldId id="2147375966" r:id="rId14"/>
    <p:sldId id="2147375967" r:id="rId15"/>
    <p:sldId id="2147482130" r:id="rId16"/>
    <p:sldId id="2147482146" r:id="rId17"/>
    <p:sldId id="2147482131" r:id="rId18"/>
    <p:sldId id="2147482132" r:id="rId19"/>
    <p:sldId id="2147482133" r:id="rId20"/>
    <p:sldId id="2147482134" r:id="rId21"/>
    <p:sldId id="2147482144" r:id="rId22"/>
    <p:sldId id="2147482138" r:id="rId23"/>
    <p:sldId id="2147482139" r:id="rId24"/>
    <p:sldId id="2147482140" r:id="rId25"/>
    <p:sldId id="2147482141" r:id="rId26"/>
    <p:sldId id="2147482142" r:id="rId27"/>
    <p:sldId id="2147478935" r:id="rId28"/>
  </p:sldIdLst>
  <p:sldSz cx="12192000" cy="6858000"/>
  <p:notesSz cx="6797675" cy="9872663"/>
  <p:custDataLst>
    <p:tags r:id="rId31"/>
  </p:custDataLst>
  <p:defaultTextStyle>
    <a:defPPr>
      <a:defRPr lang="en-US"/>
    </a:defPPr>
    <a:lvl1pPr marL="0" algn="l" defTabSz="519488" rtl="0" eaLnBrk="1" latinLnBrk="0" hangingPunct="1">
      <a:defRPr sz="2045" kern="1200">
        <a:solidFill>
          <a:schemeClr val="tx1"/>
        </a:solidFill>
        <a:latin typeface="+mn-lt"/>
        <a:ea typeface="+mn-ea"/>
        <a:cs typeface="+mn-cs"/>
      </a:defRPr>
    </a:lvl1pPr>
    <a:lvl2pPr marL="519488" algn="l" defTabSz="519488" rtl="0" eaLnBrk="1" latinLnBrk="0" hangingPunct="1">
      <a:defRPr sz="2045" kern="1200">
        <a:solidFill>
          <a:schemeClr val="tx1"/>
        </a:solidFill>
        <a:latin typeface="+mn-lt"/>
        <a:ea typeface="+mn-ea"/>
        <a:cs typeface="+mn-cs"/>
      </a:defRPr>
    </a:lvl2pPr>
    <a:lvl3pPr marL="1038977" algn="l" defTabSz="519488" rtl="0" eaLnBrk="1" latinLnBrk="0" hangingPunct="1">
      <a:defRPr sz="2045" kern="1200">
        <a:solidFill>
          <a:schemeClr val="tx1"/>
        </a:solidFill>
        <a:latin typeface="+mn-lt"/>
        <a:ea typeface="+mn-ea"/>
        <a:cs typeface="+mn-cs"/>
      </a:defRPr>
    </a:lvl3pPr>
    <a:lvl4pPr marL="1558465" algn="l" defTabSz="519488" rtl="0" eaLnBrk="1" latinLnBrk="0" hangingPunct="1">
      <a:defRPr sz="2045" kern="1200">
        <a:solidFill>
          <a:schemeClr val="tx1"/>
        </a:solidFill>
        <a:latin typeface="+mn-lt"/>
        <a:ea typeface="+mn-ea"/>
        <a:cs typeface="+mn-cs"/>
      </a:defRPr>
    </a:lvl4pPr>
    <a:lvl5pPr marL="2077952" algn="l" defTabSz="519488" rtl="0" eaLnBrk="1" latinLnBrk="0" hangingPunct="1">
      <a:defRPr sz="2045" kern="1200">
        <a:solidFill>
          <a:schemeClr val="tx1"/>
        </a:solidFill>
        <a:latin typeface="+mn-lt"/>
        <a:ea typeface="+mn-ea"/>
        <a:cs typeface="+mn-cs"/>
      </a:defRPr>
    </a:lvl5pPr>
    <a:lvl6pPr marL="2597440" algn="l" defTabSz="519488" rtl="0" eaLnBrk="1" latinLnBrk="0" hangingPunct="1">
      <a:defRPr sz="2045" kern="1200">
        <a:solidFill>
          <a:schemeClr val="tx1"/>
        </a:solidFill>
        <a:latin typeface="+mn-lt"/>
        <a:ea typeface="+mn-ea"/>
        <a:cs typeface="+mn-cs"/>
      </a:defRPr>
    </a:lvl6pPr>
    <a:lvl7pPr marL="3116929" algn="l" defTabSz="519488" rtl="0" eaLnBrk="1" latinLnBrk="0" hangingPunct="1">
      <a:defRPr sz="2045" kern="1200">
        <a:solidFill>
          <a:schemeClr val="tx1"/>
        </a:solidFill>
        <a:latin typeface="+mn-lt"/>
        <a:ea typeface="+mn-ea"/>
        <a:cs typeface="+mn-cs"/>
      </a:defRPr>
    </a:lvl7pPr>
    <a:lvl8pPr marL="3636417" algn="l" defTabSz="519488" rtl="0" eaLnBrk="1" latinLnBrk="0" hangingPunct="1">
      <a:defRPr sz="2045" kern="1200">
        <a:solidFill>
          <a:schemeClr val="tx1"/>
        </a:solidFill>
        <a:latin typeface="+mn-lt"/>
        <a:ea typeface="+mn-ea"/>
        <a:cs typeface="+mn-cs"/>
      </a:defRPr>
    </a:lvl8pPr>
    <a:lvl9pPr marL="4155905" algn="l" defTabSz="519488" rtl="0" eaLnBrk="1" latinLnBrk="0" hangingPunct="1">
      <a:defRPr sz="204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52" userDrawn="1">
          <p15:clr>
            <a:srgbClr val="A4A3A4"/>
          </p15:clr>
        </p15:guide>
        <p15:guide id="2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24">
          <p15:clr>
            <a:srgbClr val="A4A3A4"/>
          </p15:clr>
        </p15:guide>
        <p15:guide id="3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3FAE"/>
    <a:srgbClr val="6DE3F7"/>
    <a:srgbClr val="C0C0C0"/>
    <a:srgbClr val="FFFF00"/>
    <a:srgbClr val="072E40"/>
    <a:srgbClr val="F0D6FE"/>
    <a:srgbClr val="EAEAEA"/>
    <a:srgbClr val="CDCDCD"/>
    <a:srgbClr val="CD7AFD"/>
    <a:srgbClr val="9494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B5CBA6-ABA1-4E54-96C1-981167231ADB}" v="11" dt="2025-06-25T20:38:37.7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5" d="100"/>
          <a:sy n="65" d="100"/>
        </p:scale>
        <p:origin x="628" y="88"/>
      </p:cViewPr>
      <p:guideLst>
        <p:guide orient="horz" pos="3952"/>
        <p:guide pos="39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24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becca Hammer" userId="d0d35612-6d50-41f6-a7cb-ec692616c1d1" providerId="ADAL" clId="{F8B5CBA6-ABA1-4E54-96C1-981167231ADB}"/>
    <pc:docChg chg="undo custSel modSld">
      <pc:chgData name="Rebecca Hammer" userId="d0d35612-6d50-41f6-a7cb-ec692616c1d1" providerId="ADAL" clId="{F8B5CBA6-ABA1-4E54-96C1-981167231ADB}" dt="2025-06-25T20:38:37.751" v="76" actId="478"/>
      <pc:docMkLst>
        <pc:docMk/>
      </pc:docMkLst>
      <pc:sldChg chg="addSp delSp mod">
        <pc:chgData name="Rebecca Hammer" userId="d0d35612-6d50-41f6-a7cb-ec692616c1d1" providerId="ADAL" clId="{F8B5CBA6-ABA1-4E54-96C1-981167231ADB}" dt="2025-06-25T18:05:01.773" v="2" actId="22"/>
        <pc:sldMkLst>
          <pc:docMk/>
          <pc:sldMk cId="697124603" sldId="2147375962"/>
        </pc:sldMkLst>
        <pc:spChg chg="add del">
          <ac:chgData name="Rebecca Hammer" userId="d0d35612-6d50-41f6-a7cb-ec692616c1d1" providerId="ADAL" clId="{F8B5CBA6-ABA1-4E54-96C1-981167231ADB}" dt="2025-06-25T18:05:01.773" v="2" actId="22"/>
          <ac:spMkLst>
            <pc:docMk/>
            <pc:sldMk cId="697124603" sldId="2147375962"/>
            <ac:spMk id="6" creationId="{8CF3B919-4443-CB3E-AE8B-8AFD9FA713A5}"/>
          </ac:spMkLst>
        </pc:spChg>
      </pc:sldChg>
      <pc:sldChg chg="modSp mod">
        <pc:chgData name="Rebecca Hammer" userId="d0d35612-6d50-41f6-a7cb-ec692616c1d1" providerId="ADAL" clId="{F8B5CBA6-ABA1-4E54-96C1-981167231ADB}" dt="2025-06-25T18:29:50.439" v="4" actId="207"/>
        <pc:sldMkLst>
          <pc:docMk/>
          <pc:sldMk cId="4138139941" sldId="2147375966"/>
        </pc:sldMkLst>
        <pc:spChg chg="mod">
          <ac:chgData name="Rebecca Hammer" userId="d0d35612-6d50-41f6-a7cb-ec692616c1d1" providerId="ADAL" clId="{F8B5CBA6-ABA1-4E54-96C1-981167231ADB}" dt="2025-06-25T18:29:50.439" v="4" actId="207"/>
          <ac:spMkLst>
            <pc:docMk/>
            <pc:sldMk cId="4138139941" sldId="2147375966"/>
            <ac:spMk id="9" creationId="{D6D6D85B-0AC8-CC46-3DD2-6275434605E8}"/>
          </ac:spMkLst>
        </pc:spChg>
      </pc:sldChg>
      <pc:sldChg chg="modAnim">
        <pc:chgData name="Rebecca Hammer" userId="d0d35612-6d50-41f6-a7cb-ec692616c1d1" providerId="ADAL" clId="{F8B5CBA6-ABA1-4E54-96C1-981167231ADB}" dt="2025-06-25T18:24:47.385" v="3"/>
        <pc:sldMkLst>
          <pc:docMk/>
          <pc:sldMk cId="1193953862" sldId="2147375970"/>
        </pc:sldMkLst>
      </pc:sldChg>
      <pc:sldChg chg="addSp delSp modSp mod">
        <pc:chgData name="Rebecca Hammer" userId="d0d35612-6d50-41f6-a7cb-ec692616c1d1" providerId="ADAL" clId="{F8B5CBA6-ABA1-4E54-96C1-981167231ADB}" dt="2025-06-25T20:36:51.483" v="73" actId="14100"/>
        <pc:sldMkLst>
          <pc:docMk/>
          <pc:sldMk cId="1954356399" sldId="2147482134"/>
        </pc:sldMkLst>
        <pc:spChg chg="add del">
          <ac:chgData name="Rebecca Hammer" userId="d0d35612-6d50-41f6-a7cb-ec692616c1d1" providerId="ADAL" clId="{F8B5CBA6-ABA1-4E54-96C1-981167231ADB}" dt="2025-06-25T20:34:10.140" v="7" actId="478"/>
          <ac:spMkLst>
            <pc:docMk/>
            <pc:sldMk cId="1954356399" sldId="2147482134"/>
            <ac:spMk id="3" creationId="{8055C5BF-F2A1-7FE1-3AEE-283E1E04A418}"/>
          </ac:spMkLst>
        </pc:spChg>
        <pc:grpChg chg="mod">
          <ac:chgData name="Rebecca Hammer" userId="d0d35612-6d50-41f6-a7cb-ec692616c1d1" providerId="ADAL" clId="{F8B5CBA6-ABA1-4E54-96C1-981167231ADB}" dt="2025-06-25T20:35:32.504" v="59" actId="1076"/>
          <ac:grpSpMkLst>
            <pc:docMk/>
            <pc:sldMk cId="1954356399" sldId="2147482134"/>
            <ac:grpSpMk id="48" creationId="{285075DD-476B-6EEA-1DBB-B9E5561C49FA}"/>
          </ac:grpSpMkLst>
        </pc:grpChg>
        <pc:picChg chg="add mod">
          <ac:chgData name="Rebecca Hammer" userId="d0d35612-6d50-41f6-a7cb-ec692616c1d1" providerId="ADAL" clId="{F8B5CBA6-ABA1-4E54-96C1-981167231ADB}" dt="2025-06-25T20:35:21.527" v="47" actId="688"/>
          <ac:picMkLst>
            <pc:docMk/>
            <pc:sldMk cId="1954356399" sldId="2147482134"/>
            <ac:picMk id="4" creationId="{238D3AEA-C4DF-ABC9-5F3A-99E04F9DFCB3}"/>
          </ac:picMkLst>
        </pc:picChg>
        <pc:picChg chg="add mod">
          <ac:chgData name="Rebecca Hammer" userId="d0d35612-6d50-41f6-a7cb-ec692616c1d1" providerId="ADAL" clId="{F8B5CBA6-ABA1-4E54-96C1-981167231ADB}" dt="2025-06-25T20:34:59.432" v="41" actId="1076"/>
          <ac:picMkLst>
            <pc:docMk/>
            <pc:sldMk cId="1954356399" sldId="2147482134"/>
            <ac:picMk id="5" creationId="{E0887D46-A460-46E7-ECFB-2D7DE19E588B}"/>
          </ac:picMkLst>
        </pc:picChg>
        <pc:picChg chg="add mod">
          <ac:chgData name="Rebecca Hammer" userId="d0d35612-6d50-41f6-a7cb-ec692616c1d1" providerId="ADAL" clId="{F8B5CBA6-ABA1-4E54-96C1-981167231ADB}" dt="2025-06-25T20:35:58.174" v="64" actId="14100"/>
          <ac:picMkLst>
            <pc:docMk/>
            <pc:sldMk cId="1954356399" sldId="2147482134"/>
            <ac:picMk id="6" creationId="{345F938F-3642-3FF8-10D6-D738B9B86C04}"/>
          </ac:picMkLst>
        </pc:picChg>
        <pc:picChg chg="add mod">
          <ac:chgData name="Rebecca Hammer" userId="d0d35612-6d50-41f6-a7cb-ec692616c1d1" providerId="ADAL" clId="{F8B5CBA6-ABA1-4E54-96C1-981167231ADB}" dt="2025-06-25T20:36:26.515" v="67" actId="14100"/>
          <ac:picMkLst>
            <pc:docMk/>
            <pc:sldMk cId="1954356399" sldId="2147482134"/>
            <ac:picMk id="7" creationId="{EF5E0749-25EC-5126-6112-46F962C51BFE}"/>
          </ac:picMkLst>
        </pc:picChg>
        <pc:picChg chg="add mod">
          <ac:chgData name="Rebecca Hammer" userId="d0d35612-6d50-41f6-a7cb-ec692616c1d1" providerId="ADAL" clId="{F8B5CBA6-ABA1-4E54-96C1-981167231ADB}" dt="2025-06-25T20:36:51.483" v="73" actId="14100"/>
          <ac:picMkLst>
            <pc:docMk/>
            <pc:sldMk cId="1954356399" sldId="2147482134"/>
            <ac:picMk id="8" creationId="{08076E49-E4B7-82EB-DF02-DBCBDD494289}"/>
          </ac:picMkLst>
        </pc:picChg>
        <pc:picChg chg="mod">
          <ac:chgData name="Rebecca Hammer" userId="d0d35612-6d50-41f6-a7cb-ec692616c1d1" providerId="ADAL" clId="{F8B5CBA6-ABA1-4E54-96C1-981167231ADB}" dt="2025-06-25T20:35:49.826" v="61" actId="1076"/>
          <ac:picMkLst>
            <pc:docMk/>
            <pc:sldMk cId="1954356399" sldId="2147482134"/>
            <ac:picMk id="6147" creationId="{21EEF17E-3A77-6757-3485-807CF6DF3783}"/>
          </ac:picMkLst>
        </pc:picChg>
        <pc:picChg chg="del">
          <ac:chgData name="Rebecca Hammer" userId="d0d35612-6d50-41f6-a7cb-ec692616c1d1" providerId="ADAL" clId="{F8B5CBA6-ABA1-4E54-96C1-981167231ADB}" dt="2025-06-25T20:36:44.437" v="72" actId="478"/>
          <ac:picMkLst>
            <pc:docMk/>
            <pc:sldMk cId="1954356399" sldId="2147482134"/>
            <ac:picMk id="6148" creationId="{06EA2C68-ECA2-973F-9347-487AA4F1357D}"/>
          </ac:picMkLst>
        </pc:picChg>
        <pc:picChg chg="del mod">
          <ac:chgData name="Rebecca Hammer" userId="d0d35612-6d50-41f6-a7cb-ec692616c1d1" providerId="ADAL" clId="{F8B5CBA6-ABA1-4E54-96C1-981167231ADB}" dt="2025-06-25T20:35:29.395" v="57" actId="478"/>
          <ac:picMkLst>
            <pc:docMk/>
            <pc:sldMk cId="1954356399" sldId="2147482134"/>
            <ac:picMk id="6149" creationId="{853F07DA-6161-9CDB-3E9A-B7111A3854A9}"/>
          </ac:picMkLst>
        </pc:picChg>
        <pc:picChg chg="mod">
          <ac:chgData name="Rebecca Hammer" userId="d0d35612-6d50-41f6-a7cb-ec692616c1d1" providerId="ADAL" clId="{F8B5CBA6-ABA1-4E54-96C1-981167231ADB}" dt="2025-06-25T20:35:37.095" v="60" actId="1076"/>
          <ac:picMkLst>
            <pc:docMk/>
            <pc:sldMk cId="1954356399" sldId="2147482134"/>
            <ac:picMk id="6150" creationId="{7F15AEB6-2214-C13D-4425-24A5EA88FBF3}"/>
          </ac:picMkLst>
        </pc:picChg>
      </pc:sldChg>
      <pc:sldChg chg="addSp delSp mod">
        <pc:chgData name="Rebecca Hammer" userId="d0d35612-6d50-41f6-a7cb-ec692616c1d1" providerId="ADAL" clId="{F8B5CBA6-ABA1-4E54-96C1-981167231ADB}" dt="2025-06-25T20:38:37.751" v="76" actId="478"/>
        <pc:sldMkLst>
          <pc:docMk/>
          <pc:sldMk cId="4187188352" sldId="2147482144"/>
        </pc:sldMkLst>
        <pc:spChg chg="del">
          <ac:chgData name="Rebecca Hammer" userId="d0d35612-6d50-41f6-a7cb-ec692616c1d1" providerId="ADAL" clId="{F8B5CBA6-ABA1-4E54-96C1-981167231ADB}" dt="2025-06-24T13:54:56.512" v="0" actId="478"/>
          <ac:spMkLst>
            <pc:docMk/>
            <pc:sldMk cId="4187188352" sldId="2147482144"/>
            <ac:spMk id="5" creationId="{D6E95AA9-F2FF-EA37-9A5F-F06378D99BD8}"/>
          </ac:spMkLst>
        </pc:spChg>
        <pc:picChg chg="add del">
          <ac:chgData name="Rebecca Hammer" userId="d0d35612-6d50-41f6-a7cb-ec692616c1d1" providerId="ADAL" clId="{F8B5CBA6-ABA1-4E54-96C1-981167231ADB}" dt="2025-06-25T20:38:37.751" v="76" actId="478"/>
          <ac:picMkLst>
            <pc:docMk/>
            <pc:sldMk cId="4187188352" sldId="2147482144"/>
            <ac:picMk id="37" creationId="{0AAE5DED-1A2F-C4D9-E12C-7179E5237E8F}"/>
          </ac:picMkLst>
        </pc:picChg>
        <pc:picChg chg="add del">
          <ac:chgData name="Rebecca Hammer" userId="d0d35612-6d50-41f6-a7cb-ec692616c1d1" providerId="ADAL" clId="{F8B5CBA6-ABA1-4E54-96C1-981167231ADB}" dt="2025-06-25T20:38:37.751" v="76" actId="478"/>
          <ac:picMkLst>
            <pc:docMk/>
            <pc:sldMk cId="4187188352" sldId="2147482144"/>
            <ac:picMk id="38" creationId="{42191F14-F4F7-EE46-1EB1-F00A6D59A56C}"/>
          </ac:picMkLst>
        </pc:picChg>
        <pc:picChg chg="add del">
          <ac:chgData name="Rebecca Hammer" userId="d0d35612-6d50-41f6-a7cb-ec692616c1d1" providerId="ADAL" clId="{F8B5CBA6-ABA1-4E54-96C1-981167231ADB}" dt="2025-06-25T20:38:37.751" v="76" actId="478"/>
          <ac:picMkLst>
            <pc:docMk/>
            <pc:sldMk cId="4187188352" sldId="2147482144"/>
            <ac:picMk id="40" creationId="{79392E43-C640-F75B-ABDD-932E9331B961}"/>
          </ac:picMkLst>
        </pc:picChg>
        <pc:picChg chg="add del">
          <ac:chgData name="Rebecca Hammer" userId="d0d35612-6d50-41f6-a7cb-ec692616c1d1" providerId="ADAL" clId="{F8B5CBA6-ABA1-4E54-96C1-981167231ADB}" dt="2025-06-25T20:38:37.751" v="76" actId="478"/>
          <ac:picMkLst>
            <pc:docMk/>
            <pc:sldMk cId="4187188352" sldId="2147482144"/>
            <ac:picMk id="41" creationId="{FF0EB914-A8F1-ECD7-16EA-DC3D8B7448CA}"/>
          </ac:picMkLst>
        </pc:picChg>
        <pc:picChg chg="add del">
          <ac:chgData name="Rebecca Hammer" userId="d0d35612-6d50-41f6-a7cb-ec692616c1d1" providerId="ADAL" clId="{F8B5CBA6-ABA1-4E54-96C1-981167231ADB}" dt="2025-06-25T20:38:37.751" v="76" actId="478"/>
          <ac:picMkLst>
            <pc:docMk/>
            <pc:sldMk cId="4187188352" sldId="2147482144"/>
            <ac:picMk id="44" creationId="{6664506B-AB7B-BC8E-E8A1-1E04847DDD0F}"/>
          </ac:picMkLst>
        </pc:picChg>
        <pc:picChg chg="add del">
          <ac:chgData name="Rebecca Hammer" userId="d0d35612-6d50-41f6-a7cb-ec692616c1d1" providerId="ADAL" clId="{F8B5CBA6-ABA1-4E54-96C1-981167231ADB}" dt="2025-06-25T20:38:37.751" v="76" actId="478"/>
          <ac:picMkLst>
            <pc:docMk/>
            <pc:sldMk cId="4187188352" sldId="2147482144"/>
            <ac:picMk id="45" creationId="{891FC139-D5F3-2F59-CA77-2CB47DB5CA67}"/>
          </ac:picMkLst>
        </pc:picChg>
        <pc:picChg chg="add del">
          <ac:chgData name="Rebecca Hammer" userId="d0d35612-6d50-41f6-a7cb-ec692616c1d1" providerId="ADAL" clId="{F8B5CBA6-ABA1-4E54-96C1-981167231ADB}" dt="2025-06-25T20:38:37.751" v="76" actId="478"/>
          <ac:picMkLst>
            <pc:docMk/>
            <pc:sldMk cId="4187188352" sldId="2147482144"/>
            <ac:picMk id="48" creationId="{15631879-D968-C1B4-D453-564CEF248742}"/>
          </ac:picMkLst>
        </pc:picChg>
        <pc:picChg chg="add del">
          <ac:chgData name="Rebecca Hammer" userId="d0d35612-6d50-41f6-a7cb-ec692616c1d1" providerId="ADAL" clId="{F8B5CBA6-ABA1-4E54-96C1-981167231ADB}" dt="2025-06-25T20:38:37.751" v="76" actId="478"/>
          <ac:picMkLst>
            <pc:docMk/>
            <pc:sldMk cId="4187188352" sldId="2147482144"/>
            <ac:picMk id="49" creationId="{81E984D5-0C48-200C-8931-F82B739F7FF3}"/>
          </ac:picMkLst>
        </pc:picChg>
        <pc:picChg chg="add del">
          <ac:chgData name="Rebecca Hammer" userId="d0d35612-6d50-41f6-a7cb-ec692616c1d1" providerId="ADAL" clId="{F8B5CBA6-ABA1-4E54-96C1-981167231ADB}" dt="2025-06-25T20:38:37.751" v="76" actId="478"/>
          <ac:picMkLst>
            <pc:docMk/>
            <pc:sldMk cId="4187188352" sldId="2147482144"/>
            <ac:picMk id="52" creationId="{8C4E6A6E-851B-97B0-32A4-105EDAD38AB2}"/>
          </ac:picMkLst>
        </pc:picChg>
        <pc:picChg chg="add del">
          <ac:chgData name="Rebecca Hammer" userId="d0d35612-6d50-41f6-a7cb-ec692616c1d1" providerId="ADAL" clId="{F8B5CBA6-ABA1-4E54-96C1-981167231ADB}" dt="2025-06-25T20:38:37.751" v="76" actId="478"/>
          <ac:picMkLst>
            <pc:docMk/>
            <pc:sldMk cId="4187188352" sldId="2147482144"/>
            <ac:picMk id="55" creationId="{D925DB5E-4EB4-A442-272B-300F5635C310}"/>
          </ac:picMkLst>
        </pc:picChg>
      </pc:sldChg>
      <pc:sldChg chg="modAnim">
        <pc:chgData name="Rebecca Hammer" userId="d0d35612-6d50-41f6-a7cb-ec692616c1d1" providerId="ADAL" clId="{F8B5CBA6-ABA1-4E54-96C1-981167231ADB}" dt="2025-06-25T19:47:02.046" v="5"/>
        <pc:sldMkLst>
          <pc:docMk/>
          <pc:sldMk cId="802530819" sldId="2147482146"/>
        </pc:sldMkLst>
      </pc:sldChg>
    </pc:docChg>
  </pc:docChgLst>
  <pc:docChgLst>
    <pc:chgData name="Rebecca Hammer" userId="d0d35612-6d50-41f6-a7cb-ec692616c1d1" providerId="ADAL" clId="{D2C28B6D-B0D6-44E2-AB2F-07AEB9B7E4ED}"/>
    <pc:docChg chg="undo custSel addSld delSld modSld sldOrd modMainMaster">
      <pc:chgData name="Rebecca Hammer" userId="d0d35612-6d50-41f6-a7cb-ec692616c1d1" providerId="ADAL" clId="{D2C28B6D-B0D6-44E2-AB2F-07AEB9B7E4ED}" dt="2025-05-28T12:58:00.966" v="3347" actId="20577"/>
      <pc:docMkLst>
        <pc:docMk/>
      </pc:docMkLst>
      <pc:sldChg chg="addSp delSp modSp mod">
        <pc:chgData name="Rebecca Hammer" userId="d0d35612-6d50-41f6-a7cb-ec692616c1d1" providerId="ADAL" clId="{D2C28B6D-B0D6-44E2-AB2F-07AEB9B7E4ED}" dt="2025-05-28T10:35:10.969" v="1385" actId="20577"/>
        <pc:sldMkLst>
          <pc:docMk/>
          <pc:sldMk cId="1033007114" sldId="256"/>
        </pc:sldMkLst>
        <pc:spChg chg="add mod">
          <ac:chgData name="Rebecca Hammer" userId="d0d35612-6d50-41f6-a7cb-ec692616c1d1" providerId="ADAL" clId="{D2C28B6D-B0D6-44E2-AB2F-07AEB9B7E4ED}" dt="2025-05-28T10:35:10.969" v="1385" actId="20577"/>
          <ac:spMkLst>
            <pc:docMk/>
            <pc:sldMk cId="1033007114" sldId="256"/>
            <ac:spMk id="2" creationId="{A38B05D1-C8B0-28E8-454B-0634D98A3F23}"/>
          </ac:spMkLst>
        </pc:spChg>
        <pc:spChg chg="mod">
          <ac:chgData name="Rebecca Hammer" userId="d0d35612-6d50-41f6-a7cb-ec692616c1d1" providerId="ADAL" clId="{D2C28B6D-B0D6-44E2-AB2F-07AEB9B7E4ED}" dt="2025-05-27T13:12:01.512" v="155" actId="12788"/>
          <ac:spMkLst>
            <pc:docMk/>
            <pc:sldMk cId="1033007114" sldId="256"/>
            <ac:spMk id="3" creationId="{AC2D48AE-F689-FB7B-FDBE-0A653D8431C0}"/>
          </ac:spMkLst>
        </pc:spChg>
        <pc:spChg chg="add mod ord">
          <ac:chgData name="Rebecca Hammer" userId="d0d35612-6d50-41f6-a7cb-ec692616c1d1" providerId="ADAL" clId="{D2C28B6D-B0D6-44E2-AB2F-07AEB9B7E4ED}" dt="2025-05-27T13:07:37.499" v="75" actId="166"/>
          <ac:spMkLst>
            <pc:docMk/>
            <pc:sldMk cId="1033007114" sldId="256"/>
            <ac:spMk id="6" creationId="{073747FC-74D6-86FF-9240-D01E5B5C8474}"/>
          </ac:spMkLst>
        </pc:spChg>
        <pc:spChg chg="mod">
          <ac:chgData name="Rebecca Hammer" userId="d0d35612-6d50-41f6-a7cb-ec692616c1d1" providerId="ADAL" clId="{D2C28B6D-B0D6-44E2-AB2F-07AEB9B7E4ED}" dt="2025-05-28T09:29:28.815" v="925" actId="20577"/>
          <ac:spMkLst>
            <pc:docMk/>
            <pc:sldMk cId="1033007114" sldId="256"/>
            <ac:spMk id="7" creationId="{8A094526-8DA8-98DC-0966-EF38C88F558D}"/>
          </ac:spMkLst>
        </pc:spChg>
        <pc:spChg chg="add mod">
          <ac:chgData name="Rebecca Hammer" userId="d0d35612-6d50-41f6-a7cb-ec692616c1d1" providerId="ADAL" clId="{D2C28B6D-B0D6-44E2-AB2F-07AEB9B7E4ED}" dt="2025-05-27T13:07:00.437" v="61" actId="208"/>
          <ac:spMkLst>
            <pc:docMk/>
            <pc:sldMk cId="1033007114" sldId="256"/>
            <ac:spMk id="10" creationId="{8DF8B25B-800A-29F4-39DC-26CAD50CDC65}"/>
          </ac:spMkLst>
        </pc:spChg>
        <pc:spChg chg="add mod">
          <ac:chgData name="Rebecca Hammer" userId="d0d35612-6d50-41f6-a7cb-ec692616c1d1" providerId="ADAL" clId="{D2C28B6D-B0D6-44E2-AB2F-07AEB9B7E4ED}" dt="2025-05-27T13:10:33.543" v="125" actId="207"/>
          <ac:spMkLst>
            <pc:docMk/>
            <pc:sldMk cId="1033007114" sldId="256"/>
            <ac:spMk id="11" creationId="{64E58B7E-4A00-6595-72A7-073C9247222F}"/>
          </ac:spMkLst>
        </pc:spChg>
        <pc:picChg chg="add mod">
          <ac:chgData name="Rebecca Hammer" userId="d0d35612-6d50-41f6-a7cb-ec692616c1d1" providerId="ADAL" clId="{D2C28B6D-B0D6-44E2-AB2F-07AEB9B7E4ED}" dt="2025-05-27T13:12:01.512" v="155" actId="12788"/>
          <ac:picMkLst>
            <pc:docMk/>
            <pc:sldMk cId="1033007114" sldId="256"/>
            <ac:picMk id="12" creationId="{8A8A0D9B-0971-94BE-E3CB-5FDD9E67B8F9}"/>
          </ac:picMkLst>
        </pc:picChg>
        <pc:picChg chg="add mod">
          <ac:chgData name="Rebecca Hammer" userId="d0d35612-6d50-41f6-a7cb-ec692616c1d1" providerId="ADAL" clId="{D2C28B6D-B0D6-44E2-AB2F-07AEB9B7E4ED}" dt="2025-05-27T13:12:01.512" v="155" actId="12788"/>
          <ac:picMkLst>
            <pc:docMk/>
            <pc:sldMk cId="1033007114" sldId="256"/>
            <ac:picMk id="19" creationId="{93EFF9F4-6DF5-1F95-7029-B1BCFA8520C3}"/>
          </ac:picMkLst>
        </pc:picChg>
        <pc:picChg chg="add mod">
          <ac:chgData name="Rebecca Hammer" userId="d0d35612-6d50-41f6-a7cb-ec692616c1d1" providerId="ADAL" clId="{D2C28B6D-B0D6-44E2-AB2F-07AEB9B7E4ED}" dt="2025-05-27T13:10:22.159" v="124" actId="1037"/>
          <ac:picMkLst>
            <pc:docMk/>
            <pc:sldMk cId="1033007114" sldId="256"/>
            <ac:picMk id="1030" creationId="{DFB9BD7F-8AF8-9702-E049-A77C0EB0681E}"/>
          </ac:picMkLst>
        </pc:picChg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995101268" sldId="258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1443602650" sldId="259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2725577068" sldId="261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1009837226" sldId="262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832208143" sldId="263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4270639779" sldId="264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283815661" sldId="265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466838590" sldId="266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3354031156" sldId="267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3774107168" sldId="268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487492241" sldId="269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1669814417" sldId="270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3522365241" sldId="271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0" sldId="272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1264540049" sldId="273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340488217" sldId="274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0" sldId="275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2416043742" sldId="276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2359576876" sldId="278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1906236192" sldId="2147375953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3645656217" sldId="2147375954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254353405" sldId="2147375955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177907041" sldId="2147375956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2923698485" sldId="2147375957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2409789264" sldId="2147375958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577900044" sldId="2147375959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2247485385" sldId="2147375960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3818047478" sldId="2147375961"/>
        </pc:sldMkLst>
      </pc:sldChg>
      <pc:sldChg chg="ord">
        <pc:chgData name="Rebecca Hammer" userId="d0d35612-6d50-41f6-a7cb-ec692616c1d1" providerId="ADAL" clId="{D2C28B6D-B0D6-44E2-AB2F-07AEB9B7E4ED}" dt="2025-05-27T13:13:04.161" v="160"/>
        <pc:sldMkLst>
          <pc:docMk/>
          <pc:sldMk cId="697124603" sldId="2147375962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1924751611" sldId="2147375963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3848669872" sldId="2147375964"/>
        </pc:sldMkLst>
      </pc:sldChg>
      <pc:sldChg chg="addSp delSp modSp mod ord delAnim modAnim">
        <pc:chgData name="Rebecca Hammer" userId="d0d35612-6d50-41f6-a7cb-ec692616c1d1" providerId="ADAL" clId="{D2C28B6D-B0D6-44E2-AB2F-07AEB9B7E4ED}" dt="2025-05-28T12:10:59.050" v="2945" actId="1076"/>
        <pc:sldMkLst>
          <pc:docMk/>
          <pc:sldMk cId="4138139941" sldId="2147375966"/>
        </pc:sldMkLst>
        <pc:spChg chg="mod">
          <ac:chgData name="Rebecca Hammer" userId="d0d35612-6d50-41f6-a7cb-ec692616c1d1" providerId="ADAL" clId="{D2C28B6D-B0D6-44E2-AB2F-07AEB9B7E4ED}" dt="2025-05-28T11:59:11.399" v="2782" actId="20577"/>
          <ac:spMkLst>
            <pc:docMk/>
            <pc:sldMk cId="4138139941" sldId="2147375966"/>
            <ac:spMk id="2" creationId="{B31572D6-6A17-1021-F966-1AF28CAA35B0}"/>
          </ac:spMkLst>
        </pc:spChg>
        <pc:spChg chg="add mod">
          <ac:chgData name="Rebecca Hammer" userId="d0d35612-6d50-41f6-a7cb-ec692616c1d1" providerId="ADAL" clId="{D2C28B6D-B0D6-44E2-AB2F-07AEB9B7E4ED}" dt="2025-05-28T08:12:29.269" v="880" actId="207"/>
          <ac:spMkLst>
            <pc:docMk/>
            <pc:sldMk cId="4138139941" sldId="2147375966"/>
            <ac:spMk id="9" creationId="{D6D6D85B-0AC8-CC46-3DD2-6275434605E8}"/>
          </ac:spMkLst>
        </pc:spChg>
        <pc:spChg chg="add mod">
          <ac:chgData name="Rebecca Hammer" userId="d0d35612-6d50-41f6-a7cb-ec692616c1d1" providerId="ADAL" clId="{D2C28B6D-B0D6-44E2-AB2F-07AEB9B7E4ED}" dt="2025-05-28T08:12:07.212" v="879" actId="20577"/>
          <ac:spMkLst>
            <pc:docMk/>
            <pc:sldMk cId="4138139941" sldId="2147375966"/>
            <ac:spMk id="10" creationId="{CF97A01D-3904-CD30-54DF-4EB7B6A2B2CC}"/>
          </ac:spMkLst>
        </pc:spChg>
        <pc:spChg chg="mod">
          <ac:chgData name="Rebecca Hammer" userId="d0d35612-6d50-41f6-a7cb-ec692616c1d1" providerId="ADAL" clId="{D2C28B6D-B0D6-44E2-AB2F-07AEB9B7E4ED}" dt="2025-05-28T08:09:23.870" v="842" actId="14100"/>
          <ac:spMkLst>
            <pc:docMk/>
            <pc:sldMk cId="4138139941" sldId="2147375966"/>
            <ac:spMk id="37" creationId="{6385BE70-D55F-4AE3-50BB-203C913FCDEB}"/>
          </ac:spMkLst>
        </pc:spChg>
        <pc:spChg chg="mod">
          <ac:chgData name="Rebecca Hammer" userId="d0d35612-6d50-41f6-a7cb-ec692616c1d1" providerId="ADAL" clId="{D2C28B6D-B0D6-44E2-AB2F-07AEB9B7E4ED}" dt="2025-05-28T08:09:26.165" v="843" actId="1076"/>
          <ac:spMkLst>
            <pc:docMk/>
            <pc:sldMk cId="4138139941" sldId="2147375966"/>
            <ac:spMk id="38" creationId="{2E678D2A-8ECD-61E9-D3DC-34130581CCDA}"/>
          </ac:spMkLst>
        </pc:spChg>
        <pc:spChg chg="mod">
          <ac:chgData name="Rebecca Hammer" userId="d0d35612-6d50-41f6-a7cb-ec692616c1d1" providerId="ADAL" clId="{D2C28B6D-B0D6-44E2-AB2F-07AEB9B7E4ED}" dt="2025-05-28T08:20:04.586" v="907" actId="14100"/>
          <ac:spMkLst>
            <pc:docMk/>
            <pc:sldMk cId="4138139941" sldId="2147375966"/>
            <ac:spMk id="41" creationId="{25D4BCD8-8A32-FD7F-8BC7-CDE87DC287FC}"/>
          </ac:spMkLst>
        </pc:spChg>
        <pc:spChg chg="mod">
          <ac:chgData name="Rebecca Hammer" userId="d0d35612-6d50-41f6-a7cb-ec692616c1d1" providerId="ADAL" clId="{D2C28B6D-B0D6-44E2-AB2F-07AEB9B7E4ED}" dt="2025-05-28T08:20:11.057" v="910" actId="20577"/>
          <ac:spMkLst>
            <pc:docMk/>
            <pc:sldMk cId="4138139941" sldId="2147375966"/>
            <ac:spMk id="42" creationId="{4D06AA59-8130-0F23-192B-FEF184AC31C8}"/>
          </ac:spMkLst>
        </pc:spChg>
        <pc:spChg chg="mod">
          <ac:chgData name="Rebecca Hammer" userId="d0d35612-6d50-41f6-a7cb-ec692616c1d1" providerId="ADAL" clId="{D2C28B6D-B0D6-44E2-AB2F-07AEB9B7E4ED}" dt="2025-05-28T08:16:49.210" v="899" actId="14100"/>
          <ac:spMkLst>
            <pc:docMk/>
            <pc:sldMk cId="4138139941" sldId="2147375966"/>
            <ac:spMk id="45" creationId="{BC2D06AA-11D0-49C8-F9C4-6AE8E38F07A4}"/>
          </ac:spMkLst>
        </pc:spChg>
        <pc:spChg chg="mod">
          <ac:chgData name="Rebecca Hammer" userId="d0d35612-6d50-41f6-a7cb-ec692616c1d1" providerId="ADAL" clId="{D2C28B6D-B0D6-44E2-AB2F-07AEB9B7E4ED}" dt="2025-05-28T08:16:54.751" v="902" actId="20577"/>
          <ac:spMkLst>
            <pc:docMk/>
            <pc:sldMk cId="4138139941" sldId="2147375966"/>
            <ac:spMk id="46" creationId="{4078E893-9E56-C9BF-4C98-62F772F87E1E}"/>
          </ac:spMkLst>
        </pc:spChg>
        <pc:spChg chg="mod">
          <ac:chgData name="Rebecca Hammer" userId="d0d35612-6d50-41f6-a7cb-ec692616c1d1" providerId="ADAL" clId="{D2C28B6D-B0D6-44E2-AB2F-07AEB9B7E4ED}" dt="2025-05-28T08:14:04.198" v="893" actId="14100"/>
          <ac:spMkLst>
            <pc:docMk/>
            <pc:sldMk cId="4138139941" sldId="2147375966"/>
            <ac:spMk id="47" creationId="{833BA204-5F0D-E202-ADC7-4919EAB5E15F}"/>
          </ac:spMkLst>
        </pc:spChg>
        <pc:spChg chg="mod">
          <ac:chgData name="Rebecca Hammer" userId="d0d35612-6d50-41f6-a7cb-ec692616c1d1" providerId="ADAL" clId="{D2C28B6D-B0D6-44E2-AB2F-07AEB9B7E4ED}" dt="2025-05-28T08:14:09.825" v="896" actId="1076"/>
          <ac:spMkLst>
            <pc:docMk/>
            <pc:sldMk cId="4138139941" sldId="2147375966"/>
            <ac:spMk id="48" creationId="{D1E835D7-89B7-49E5-3C45-E0DFFFA15119}"/>
          </ac:spMkLst>
        </pc:spChg>
        <pc:spChg chg="mod">
          <ac:chgData name="Rebecca Hammer" userId="d0d35612-6d50-41f6-a7cb-ec692616c1d1" providerId="ADAL" clId="{D2C28B6D-B0D6-44E2-AB2F-07AEB9B7E4ED}" dt="2025-05-28T08:21:20.705" v="915" actId="14100"/>
          <ac:spMkLst>
            <pc:docMk/>
            <pc:sldMk cId="4138139941" sldId="2147375966"/>
            <ac:spMk id="49" creationId="{7A0F1A97-651D-25C8-F6A2-6FCBDFF761E6}"/>
          </ac:spMkLst>
        </pc:spChg>
        <pc:spChg chg="mod">
          <ac:chgData name="Rebecca Hammer" userId="d0d35612-6d50-41f6-a7cb-ec692616c1d1" providerId="ADAL" clId="{D2C28B6D-B0D6-44E2-AB2F-07AEB9B7E4ED}" dt="2025-05-28T08:21:24.768" v="918" actId="20577"/>
          <ac:spMkLst>
            <pc:docMk/>
            <pc:sldMk cId="4138139941" sldId="2147375966"/>
            <ac:spMk id="50" creationId="{A608685C-F13E-F7FA-6709-C0998828BC1C}"/>
          </ac:spMkLst>
        </pc:spChg>
        <pc:spChg chg="mod">
          <ac:chgData name="Rebecca Hammer" userId="d0d35612-6d50-41f6-a7cb-ec692616c1d1" providerId="ADAL" clId="{D2C28B6D-B0D6-44E2-AB2F-07AEB9B7E4ED}" dt="2025-05-28T08:09:38.406" v="844" actId="14100"/>
          <ac:spMkLst>
            <pc:docMk/>
            <pc:sldMk cId="4138139941" sldId="2147375966"/>
            <ac:spMk id="51" creationId="{A939C799-714A-6134-6E38-84B6A4B7CDD3}"/>
          </ac:spMkLst>
        </pc:spChg>
        <pc:spChg chg="mod">
          <ac:chgData name="Rebecca Hammer" userId="d0d35612-6d50-41f6-a7cb-ec692616c1d1" providerId="ADAL" clId="{D2C28B6D-B0D6-44E2-AB2F-07AEB9B7E4ED}" dt="2025-05-28T08:09:43.508" v="847" actId="20577"/>
          <ac:spMkLst>
            <pc:docMk/>
            <pc:sldMk cId="4138139941" sldId="2147375966"/>
            <ac:spMk id="52" creationId="{F18ADE50-03F4-EC22-2418-1E82275DCD86}"/>
          </ac:spMkLst>
        </pc:spChg>
        <pc:spChg chg="mod">
          <ac:chgData name="Rebecca Hammer" userId="d0d35612-6d50-41f6-a7cb-ec692616c1d1" providerId="ADAL" clId="{D2C28B6D-B0D6-44E2-AB2F-07AEB9B7E4ED}" dt="2025-05-27T15:36:10.720" v="334" actId="14100"/>
          <ac:spMkLst>
            <pc:docMk/>
            <pc:sldMk cId="4138139941" sldId="2147375966"/>
            <ac:spMk id="55" creationId="{16897C38-BB1F-79A6-7CCA-A4F4331787F4}"/>
          </ac:spMkLst>
        </pc:spChg>
        <pc:spChg chg="mod">
          <ac:chgData name="Rebecca Hammer" userId="d0d35612-6d50-41f6-a7cb-ec692616c1d1" providerId="ADAL" clId="{D2C28B6D-B0D6-44E2-AB2F-07AEB9B7E4ED}" dt="2025-05-27T15:36:48.541" v="353" actId="1076"/>
          <ac:spMkLst>
            <pc:docMk/>
            <pc:sldMk cId="4138139941" sldId="2147375966"/>
            <ac:spMk id="56" creationId="{F53E2679-71E1-CC0E-707F-1316912472FE}"/>
          </ac:spMkLst>
        </pc:spChg>
        <pc:spChg chg="mod">
          <ac:chgData name="Rebecca Hammer" userId="d0d35612-6d50-41f6-a7cb-ec692616c1d1" providerId="ADAL" clId="{D2C28B6D-B0D6-44E2-AB2F-07AEB9B7E4ED}" dt="2025-05-28T08:20:15.477" v="911" actId="14100"/>
          <ac:spMkLst>
            <pc:docMk/>
            <pc:sldMk cId="4138139941" sldId="2147375966"/>
            <ac:spMk id="59" creationId="{42DE9E4A-74D5-698C-9248-8CFF54FD95C5}"/>
          </ac:spMkLst>
        </pc:spChg>
        <pc:spChg chg="mod">
          <ac:chgData name="Rebecca Hammer" userId="d0d35612-6d50-41f6-a7cb-ec692616c1d1" providerId="ADAL" clId="{D2C28B6D-B0D6-44E2-AB2F-07AEB9B7E4ED}" dt="2025-05-28T08:20:19.448" v="914" actId="20577"/>
          <ac:spMkLst>
            <pc:docMk/>
            <pc:sldMk cId="4138139941" sldId="2147375966"/>
            <ac:spMk id="60" creationId="{2381A262-408F-91CE-70A3-D36C27A0EE59}"/>
          </ac:spMkLst>
        </pc:spChg>
        <pc:spChg chg="mod">
          <ac:chgData name="Rebecca Hammer" userId="d0d35612-6d50-41f6-a7cb-ec692616c1d1" providerId="ADAL" clId="{D2C28B6D-B0D6-44E2-AB2F-07AEB9B7E4ED}" dt="2025-05-28T08:17:13.120" v="906" actId="14100"/>
          <ac:spMkLst>
            <pc:docMk/>
            <pc:sldMk cId="4138139941" sldId="2147375966"/>
            <ac:spMk id="63" creationId="{176EB957-4789-F799-9E7E-BBF7790BC3CE}"/>
          </ac:spMkLst>
        </pc:spChg>
        <pc:spChg chg="mod">
          <ac:chgData name="Rebecca Hammer" userId="d0d35612-6d50-41f6-a7cb-ec692616c1d1" providerId="ADAL" clId="{D2C28B6D-B0D6-44E2-AB2F-07AEB9B7E4ED}" dt="2025-05-28T08:17:07.307" v="905" actId="1076"/>
          <ac:spMkLst>
            <pc:docMk/>
            <pc:sldMk cId="4138139941" sldId="2147375966"/>
            <ac:spMk id="64" creationId="{27C53D51-C4C2-9C7C-88B0-E83F8F870D41}"/>
          </ac:spMkLst>
        </pc:spChg>
        <pc:spChg chg="mod">
          <ac:chgData name="Rebecca Hammer" userId="d0d35612-6d50-41f6-a7cb-ec692616c1d1" providerId="ADAL" clId="{D2C28B6D-B0D6-44E2-AB2F-07AEB9B7E4ED}" dt="2025-05-27T15:39:33.307" v="441" actId="14100"/>
          <ac:spMkLst>
            <pc:docMk/>
            <pc:sldMk cId="4138139941" sldId="2147375966"/>
            <ac:spMk id="65" creationId="{AC86F56C-4AC1-F48C-9AE9-832CB180F4E6}"/>
          </ac:spMkLst>
        </pc:spChg>
        <pc:spChg chg="mod">
          <ac:chgData name="Rebecca Hammer" userId="d0d35612-6d50-41f6-a7cb-ec692616c1d1" providerId="ADAL" clId="{D2C28B6D-B0D6-44E2-AB2F-07AEB9B7E4ED}" dt="2025-05-27T15:39:39.269" v="452" actId="20577"/>
          <ac:spMkLst>
            <pc:docMk/>
            <pc:sldMk cId="4138139941" sldId="2147375966"/>
            <ac:spMk id="66" creationId="{C98DE109-CD0A-E592-1770-428930EEF03E}"/>
          </ac:spMkLst>
        </pc:spChg>
        <pc:spChg chg="mod">
          <ac:chgData name="Rebecca Hammer" userId="d0d35612-6d50-41f6-a7cb-ec692616c1d1" providerId="ADAL" clId="{D2C28B6D-B0D6-44E2-AB2F-07AEB9B7E4ED}" dt="2025-05-28T08:13:44.407" v="891" actId="14100"/>
          <ac:spMkLst>
            <pc:docMk/>
            <pc:sldMk cId="4138139941" sldId="2147375966"/>
            <ac:spMk id="67" creationId="{483EA198-0603-C5F4-F42E-696BA2BE6C98}"/>
          </ac:spMkLst>
        </pc:spChg>
        <pc:spChg chg="mod">
          <ac:chgData name="Rebecca Hammer" userId="d0d35612-6d50-41f6-a7cb-ec692616c1d1" providerId="ADAL" clId="{D2C28B6D-B0D6-44E2-AB2F-07AEB9B7E4ED}" dt="2025-05-28T08:13:38.707" v="890" actId="20577"/>
          <ac:spMkLst>
            <pc:docMk/>
            <pc:sldMk cId="4138139941" sldId="2147375966"/>
            <ac:spMk id="68" creationId="{7716EEB6-B93F-8899-1835-9F0771808DB7}"/>
          </ac:spMkLst>
        </pc:spChg>
        <pc:spChg chg="mod">
          <ac:chgData name="Rebecca Hammer" userId="d0d35612-6d50-41f6-a7cb-ec692616c1d1" providerId="ADAL" clId="{D2C28B6D-B0D6-44E2-AB2F-07AEB9B7E4ED}" dt="2025-05-27T15:39:06.565" v="420" actId="1038"/>
          <ac:spMkLst>
            <pc:docMk/>
            <pc:sldMk cId="4138139941" sldId="2147375966"/>
            <ac:spMk id="78" creationId="{EBB7E762-A2DB-55AE-BA73-16AEB34050FA}"/>
          </ac:spMkLst>
        </pc:spChg>
        <pc:spChg chg="mod">
          <ac:chgData name="Rebecca Hammer" userId="d0d35612-6d50-41f6-a7cb-ec692616c1d1" providerId="ADAL" clId="{D2C28B6D-B0D6-44E2-AB2F-07AEB9B7E4ED}" dt="2025-05-27T15:39:06.565" v="420" actId="1038"/>
          <ac:spMkLst>
            <pc:docMk/>
            <pc:sldMk cId="4138139941" sldId="2147375966"/>
            <ac:spMk id="96" creationId="{E9A7D9DC-5D04-CB7C-57DC-1430EE42A3B4}"/>
          </ac:spMkLst>
        </pc:spChg>
        <pc:spChg chg="mod">
          <ac:chgData name="Rebecca Hammer" userId="d0d35612-6d50-41f6-a7cb-ec692616c1d1" providerId="ADAL" clId="{D2C28B6D-B0D6-44E2-AB2F-07AEB9B7E4ED}" dt="2025-05-27T15:48:17.472" v="487" actId="1036"/>
          <ac:spMkLst>
            <pc:docMk/>
            <pc:sldMk cId="4138139941" sldId="2147375966"/>
            <ac:spMk id="103" creationId="{07939F5D-3D8F-DCC4-CEA2-945B23087F02}"/>
          </ac:spMkLst>
        </pc:spChg>
        <pc:spChg chg="mod">
          <ac:chgData name="Rebecca Hammer" userId="d0d35612-6d50-41f6-a7cb-ec692616c1d1" providerId="ADAL" clId="{D2C28B6D-B0D6-44E2-AB2F-07AEB9B7E4ED}" dt="2025-05-27T15:48:17.472" v="487" actId="1036"/>
          <ac:spMkLst>
            <pc:docMk/>
            <pc:sldMk cId="4138139941" sldId="2147375966"/>
            <ac:spMk id="104" creationId="{0639B49F-653B-B76C-5C49-FB82BBB1C023}"/>
          </ac:spMkLst>
        </pc:spChg>
        <pc:spChg chg="mod">
          <ac:chgData name="Rebecca Hammer" userId="d0d35612-6d50-41f6-a7cb-ec692616c1d1" providerId="ADAL" clId="{D2C28B6D-B0D6-44E2-AB2F-07AEB9B7E4ED}" dt="2025-05-28T12:10:59.050" v="2945" actId="1076"/>
          <ac:spMkLst>
            <pc:docMk/>
            <pc:sldMk cId="4138139941" sldId="2147375966"/>
            <ac:spMk id="106" creationId="{F8F61FED-BED5-1F75-38C4-25439C9BCCB3}"/>
          </ac:spMkLst>
        </pc:spChg>
        <pc:spChg chg="mod">
          <ac:chgData name="Rebecca Hammer" userId="d0d35612-6d50-41f6-a7cb-ec692616c1d1" providerId="ADAL" clId="{D2C28B6D-B0D6-44E2-AB2F-07AEB9B7E4ED}" dt="2025-05-27T15:39:06.565" v="420" actId="1038"/>
          <ac:spMkLst>
            <pc:docMk/>
            <pc:sldMk cId="4138139941" sldId="2147375966"/>
            <ac:spMk id="132" creationId="{6EB79C12-F9B7-7CD1-4945-8AB019FE139B}"/>
          </ac:spMkLst>
        </pc:spChg>
        <pc:spChg chg="mod">
          <ac:chgData name="Rebecca Hammer" userId="d0d35612-6d50-41f6-a7cb-ec692616c1d1" providerId="ADAL" clId="{D2C28B6D-B0D6-44E2-AB2F-07AEB9B7E4ED}" dt="2025-05-27T15:38:32.959" v="393" actId="1076"/>
          <ac:spMkLst>
            <pc:docMk/>
            <pc:sldMk cId="4138139941" sldId="2147375966"/>
            <ac:spMk id="133" creationId="{46A950F4-2D06-9671-E0CB-3689E901251D}"/>
          </ac:spMkLst>
        </pc:spChg>
        <pc:spChg chg="mod">
          <ac:chgData name="Rebecca Hammer" userId="d0d35612-6d50-41f6-a7cb-ec692616c1d1" providerId="ADAL" clId="{D2C28B6D-B0D6-44E2-AB2F-07AEB9B7E4ED}" dt="2025-05-27T15:39:06.565" v="420" actId="1038"/>
          <ac:spMkLst>
            <pc:docMk/>
            <pc:sldMk cId="4138139941" sldId="2147375966"/>
            <ac:spMk id="134" creationId="{121D556C-C0CB-28F1-9B2E-88F7D3EE2C86}"/>
          </ac:spMkLst>
        </pc:spChg>
        <pc:spChg chg="mod">
          <ac:chgData name="Rebecca Hammer" userId="d0d35612-6d50-41f6-a7cb-ec692616c1d1" providerId="ADAL" clId="{D2C28B6D-B0D6-44E2-AB2F-07AEB9B7E4ED}" dt="2025-05-27T15:39:15.441" v="424" actId="20577"/>
          <ac:spMkLst>
            <pc:docMk/>
            <pc:sldMk cId="4138139941" sldId="2147375966"/>
            <ac:spMk id="140" creationId="{EED68141-5961-DA69-1616-B95DA3C05361}"/>
          </ac:spMkLst>
        </pc:spChg>
        <pc:spChg chg="mod">
          <ac:chgData name="Rebecca Hammer" userId="d0d35612-6d50-41f6-a7cb-ec692616c1d1" providerId="ADAL" clId="{D2C28B6D-B0D6-44E2-AB2F-07AEB9B7E4ED}" dt="2025-05-27T15:39:13.894" v="423" actId="20577"/>
          <ac:spMkLst>
            <pc:docMk/>
            <pc:sldMk cId="4138139941" sldId="2147375966"/>
            <ac:spMk id="142" creationId="{723C5FCB-1DA8-4896-E2A5-8E31E2B48CD7}"/>
          </ac:spMkLst>
        </pc:spChg>
      </pc:sldChg>
      <pc:sldChg chg="modSp mod ord">
        <pc:chgData name="Rebecca Hammer" userId="d0d35612-6d50-41f6-a7cb-ec692616c1d1" providerId="ADAL" clId="{D2C28B6D-B0D6-44E2-AB2F-07AEB9B7E4ED}" dt="2025-05-28T11:59:22.886" v="2784" actId="20577"/>
        <pc:sldMkLst>
          <pc:docMk/>
          <pc:sldMk cId="104841692" sldId="2147375967"/>
        </pc:sldMkLst>
        <pc:spChg chg="mod">
          <ac:chgData name="Rebecca Hammer" userId="d0d35612-6d50-41f6-a7cb-ec692616c1d1" providerId="ADAL" clId="{D2C28B6D-B0D6-44E2-AB2F-07AEB9B7E4ED}" dt="2025-05-28T11:59:22.886" v="2784" actId="20577"/>
          <ac:spMkLst>
            <pc:docMk/>
            <pc:sldMk cId="104841692" sldId="2147375967"/>
            <ac:spMk id="2" creationId="{BD70CE87-3821-BB3F-77E1-14A794211B29}"/>
          </ac:spMkLst>
        </pc:spChg>
        <pc:spChg chg="mod">
          <ac:chgData name="Rebecca Hammer" userId="d0d35612-6d50-41f6-a7cb-ec692616c1d1" providerId="ADAL" clId="{D2C28B6D-B0D6-44E2-AB2F-07AEB9B7E4ED}" dt="2025-05-27T15:40:19.369" v="460" actId="1076"/>
          <ac:spMkLst>
            <pc:docMk/>
            <pc:sldMk cId="104841692" sldId="2147375967"/>
            <ac:spMk id="45" creationId="{5CC43B2D-54D5-A342-21F4-B138B20FC9BF}"/>
          </ac:spMkLst>
        </pc:spChg>
        <pc:spChg chg="mod">
          <ac:chgData name="Rebecca Hammer" userId="d0d35612-6d50-41f6-a7cb-ec692616c1d1" providerId="ADAL" clId="{D2C28B6D-B0D6-44E2-AB2F-07AEB9B7E4ED}" dt="2025-05-27T15:40:26.260" v="461"/>
          <ac:spMkLst>
            <pc:docMk/>
            <pc:sldMk cId="104841692" sldId="2147375967"/>
            <ac:spMk id="48" creationId="{EA308DF5-3813-B62C-3616-1E19DFB393D2}"/>
          </ac:spMkLst>
        </pc:spChg>
      </pc:sldChg>
      <pc:sldChg chg="addSp modSp mod ord">
        <pc:chgData name="Rebecca Hammer" userId="d0d35612-6d50-41f6-a7cb-ec692616c1d1" providerId="ADAL" clId="{D2C28B6D-B0D6-44E2-AB2F-07AEB9B7E4ED}" dt="2025-05-28T11:58:48.680" v="2731" actId="20577"/>
        <pc:sldMkLst>
          <pc:docMk/>
          <pc:sldMk cId="1193953862" sldId="2147375970"/>
        </pc:sldMkLst>
        <pc:spChg chg="mod">
          <ac:chgData name="Rebecca Hammer" userId="d0d35612-6d50-41f6-a7cb-ec692616c1d1" providerId="ADAL" clId="{D2C28B6D-B0D6-44E2-AB2F-07AEB9B7E4ED}" dt="2025-05-28T11:58:48.680" v="2731" actId="20577"/>
          <ac:spMkLst>
            <pc:docMk/>
            <pc:sldMk cId="1193953862" sldId="2147375970"/>
            <ac:spMk id="2" creationId="{C8B209CD-8F1D-E541-147C-8E799789F8A5}"/>
          </ac:spMkLst>
        </pc:spChg>
        <pc:picChg chg="mod">
          <ac:chgData name="Rebecca Hammer" userId="d0d35612-6d50-41f6-a7cb-ec692616c1d1" providerId="ADAL" clId="{D2C28B6D-B0D6-44E2-AB2F-07AEB9B7E4ED}" dt="2025-05-27T15:32:06.136" v="316" actId="1076"/>
          <ac:picMkLst>
            <pc:docMk/>
            <pc:sldMk cId="1193953862" sldId="2147375970"/>
            <ac:picMk id="31" creationId="{313D2D5F-261D-65D6-7222-81544DE443F5}"/>
          </ac:picMkLst>
        </pc:picChg>
        <pc:picChg chg="mod">
          <ac:chgData name="Rebecca Hammer" userId="d0d35612-6d50-41f6-a7cb-ec692616c1d1" providerId="ADAL" clId="{D2C28B6D-B0D6-44E2-AB2F-07AEB9B7E4ED}" dt="2025-05-27T15:32:06.136" v="316" actId="1076"/>
          <ac:picMkLst>
            <pc:docMk/>
            <pc:sldMk cId="1193953862" sldId="2147375970"/>
            <ac:picMk id="38" creationId="{FA5AC7E7-595D-F42A-FBD2-B0871CD7C19D}"/>
          </ac:picMkLst>
        </pc:picChg>
        <pc:picChg chg="mod">
          <ac:chgData name="Rebecca Hammer" userId="d0d35612-6d50-41f6-a7cb-ec692616c1d1" providerId="ADAL" clId="{D2C28B6D-B0D6-44E2-AB2F-07AEB9B7E4ED}" dt="2025-05-27T15:32:08.011" v="317" actId="1076"/>
          <ac:picMkLst>
            <pc:docMk/>
            <pc:sldMk cId="1193953862" sldId="2147375970"/>
            <ac:picMk id="44" creationId="{1105E95F-810A-96D4-8BC3-2112A176011A}"/>
          </ac:picMkLst>
        </pc:picChg>
        <pc:picChg chg="mod">
          <ac:chgData name="Rebecca Hammer" userId="d0d35612-6d50-41f6-a7cb-ec692616c1d1" providerId="ADAL" clId="{D2C28B6D-B0D6-44E2-AB2F-07AEB9B7E4ED}" dt="2025-05-27T15:32:08.011" v="317" actId="1076"/>
          <ac:picMkLst>
            <pc:docMk/>
            <pc:sldMk cId="1193953862" sldId="2147375970"/>
            <ac:picMk id="52" creationId="{D6E95A41-2B0B-1FD8-6E4D-0E66ADBF67A8}"/>
          </ac:picMkLst>
        </pc:picChg>
        <pc:picChg chg="mod">
          <ac:chgData name="Rebecca Hammer" userId="d0d35612-6d50-41f6-a7cb-ec692616c1d1" providerId="ADAL" clId="{D2C28B6D-B0D6-44E2-AB2F-07AEB9B7E4ED}" dt="2025-05-27T15:32:10.738" v="318" actId="1076"/>
          <ac:picMkLst>
            <pc:docMk/>
            <pc:sldMk cId="1193953862" sldId="2147375970"/>
            <ac:picMk id="59" creationId="{73711056-3BE0-1C43-1E6C-0836B71BC78E}"/>
          </ac:picMkLst>
        </pc:picChg>
        <pc:picChg chg="mod">
          <ac:chgData name="Rebecca Hammer" userId="d0d35612-6d50-41f6-a7cb-ec692616c1d1" providerId="ADAL" clId="{D2C28B6D-B0D6-44E2-AB2F-07AEB9B7E4ED}" dt="2025-05-27T15:32:10.738" v="318" actId="1076"/>
          <ac:picMkLst>
            <pc:docMk/>
            <pc:sldMk cId="1193953862" sldId="2147375970"/>
            <ac:picMk id="63" creationId="{811C242F-FF0A-D5E4-621D-304CD09D3C09}"/>
          </ac:picMkLst>
        </pc:picChg>
        <pc:picChg chg="add mod">
          <ac:chgData name="Rebecca Hammer" userId="d0d35612-6d50-41f6-a7cb-ec692616c1d1" providerId="ADAL" clId="{D2C28B6D-B0D6-44E2-AB2F-07AEB9B7E4ED}" dt="2025-05-27T15:32:38.803" v="324" actId="1076"/>
          <ac:picMkLst>
            <pc:docMk/>
            <pc:sldMk cId="1193953862" sldId="2147375970"/>
            <ac:picMk id="4098" creationId="{FCFAD3D8-6AF8-9D82-462B-BCFE326047C2}"/>
          </ac:picMkLst>
        </pc:picChg>
        <pc:picChg chg="add mod">
          <ac:chgData name="Rebecca Hammer" userId="d0d35612-6d50-41f6-a7cb-ec692616c1d1" providerId="ADAL" clId="{D2C28B6D-B0D6-44E2-AB2F-07AEB9B7E4ED}" dt="2025-05-27T15:24:13.568" v="292" actId="14100"/>
          <ac:picMkLst>
            <pc:docMk/>
            <pc:sldMk cId="1193953862" sldId="2147375970"/>
            <ac:picMk id="4100" creationId="{78A6FA09-2883-B09D-3DA3-45FA99F4C341}"/>
          </ac:picMkLst>
        </pc:picChg>
        <pc:picChg chg="add mod">
          <ac:chgData name="Rebecca Hammer" userId="d0d35612-6d50-41f6-a7cb-ec692616c1d1" providerId="ADAL" clId="{D2C28B6D-B0D6-44E2-AB2F-07AEB9B7E4ED}" dt="2025-05-27T15:32:35.118" v="322" actId="1076"/>
          <ac:picMkLst>
            <pc:docMk/>
            <pc:sldMk cId="1193953862" sldId="2147375970"/>
            <ac:picMk id="4102" creationId="{A983B628-5D13-9DE8-A25E-252D0886D75E}"/>
          </ac:picMkLst>
        </pc:picChg>
        <pc:picChg chg="add mod">
          <ac:chgData name="Rebecca Hammer" userId="d0d35612-6d50-41f6-a7cb-ec692616c1d1" providerId="ADAL" clId="{D2C28B6D-B0D6-44E2-AB2F-07AEB9B7E4ED}" dt="2025-05-27T15:33:33.058" v="325" actId="1076"/>
          <ac:picMkLst>
            <pc:docMk/>
            <pc:sldMk cId="1193953862" sldId="2147375970"/>
            <ac:picMk id="4104" creationId="{866DE74D-9F82-B3EB-0EFE-7A4997CA6878}"/>
          </ac:picMkLst>
        </pc:picChg>
        <pc:picChg chg="add mod">
          <ac:chgData name="Rebecca Hammer" userId="d0d35612-6d50-41f6-a7cb-ec692616c1d1" providerId="ADAL" clId="{D2C28B6D-B0D6-44E2-AB2F-07AEB9B7E4ED}" dt="2025-05-27T15:33:33.058" v="325" actId="1076"/>
          <ac:picMkLst>
            <pc:docMk/>
            <pc:sldMk cId="1193953862" sldId="2147375970"/>
            <ac:picMk id="4106" creationId="{FB827048-7F19-12F7-B8B7-AE1E49A7C2A9}"/>
          </ac:picMkLst>
        </pc:picChg>
        <pc:picChg chg="mod">
          <ac:chgData name="Rebecca Hammer" userId="d0d35612-6d50-41f6-a7cb-ec692616c1d1" providerId="ADAL" clId="{D2C28B6D-B0D6-44E2-AB2F-07AEB9B7E4ED}" dt="2025-05-27T15:32:16.177" v="320" actId="12788"/>
          <ac:picMkLst>
            <pc:docMk/>
            <pc:sldMk cId="1193953862" sldId="2147375970"/>
            <ac:picMk id="8200" creationId="{FF19D6DB-FC2F-0A6F-42F9-27373461EE79}"/>
          </ac:picMkLst>
        </pc:picChg>
        <pc:picChg chg="mod">
          <ac:chgData name="Rebecca Hammer" userId="d0d35612-6d50-41f6-a7cb-ec692616c1d1" providerId="ADAL" clId="{D2C28B6D-B0D6-44E2-AB2F-07AEB9B7E4ED}" dt="2025-05-27T15:32:16.177" v="320" actId="12788"/>
          <ac:picMkLst>
            <pc:docMk/>
            <pc:sldMk cId="1193953862" sldId="2147375970"/>
            <ac:picMk id="8201" creationId="{84F4729E-DC42-82B2-283B-88C1D81CC93F}"/>
          </ac:picMkLst>
        </pc:picChg>
        <pc:picChg chg="mod">
          <ac:chgData name="Rebecca Hammer" userId="d0d35612-6d50-41f6-a7cb-ec692616c1d1" providerId="ADAL" clId="{D2C28B6D-B0D6-44E2-AB2F-07AEB9B7E4ED}" dt="2025-05-27T15:32:37.685" v="323" actId="1076"/>
          <ac:picMkLst>
            <pc:docMk/>
            <pc:sldMk cId="1193953862" sldId="2147375970"/>
            <ac:picMk id="8225" creationId="{C2752FF6-56F3-3E36-5F28-831DA5409C6D}"/>
          </ac:picMkLst>
        </pc:picChg>
        <pc:picChg chg="mod">
          <ac:chgData name="Rebecca Hammer" userId="d0d35612-6d50-41f6-a7cb-ec692616c1d1" providerId="ADAL" clId="{D2C28B6D-B0D6-44E2-AB2F-07AEB9B7E4ED}" dt="2025-05-27T15:34:45.525" v="327" actId="1076"/>
          <ac:picMkLst>
            <pc:docMk/>
            <pc:sldMk cId="1193953862" sldId="2147375970"/>
            <ac:picMk id="8227" creationId="{5550631D-E880-1377-2CD4-7A498A1794E7}"/>
          </ac:picMkLst>
        </pc:picChg>
        <pc:picChg chg="mod">
          <ac:chgData name="Rebecca Hammer" userId="d0d35612-6d50-41f6-a7cb-ec692616c1d1" providerId="ADAL" clId="{D2C28B6D-B0D6-44E2-AB2F-07AEB9B7E4ED}" dt="2025-05-27T15:22:54.701" v="278" actId="1076"/>
          <ac:picMkLst>
            <pc:docMk/>
            <pc:sldMk cId="1193953862" sldId="2147375970"/>
            <ac:picMk id="8228" creationId="{B4DBE7B6-5E6D-DDD5-213D-7ABD95CFC49D}"/>
          </ac:picMkLst>
        </pc:picChg>
        <pc:picChg chg="mod">
          <ac:chgData name="Rebecca Hammer" userId="d0d35612-6d50-41f6-a7cb-ec692616c1d1" providerId="ADAL" clId="{D2C28B6D-B0D6-44E2-AB2F-07AEB9B7E4ED}" dt="2025-05-27T15:23:46.209" v="286" actId="1076"/>
          <ac:picMkLst>
            <pc:docMk/>
            <pc:sldMk cId="1193953862" sldId="2147375970"/>
            <ac:picMk id="8249" creationId="{01546D91-D648-6D67-FF96-B8121E18C345}"/>
          </ac:picMkLst>
        </pc:picChg>
        <pc:picChg chg="mod">
          <ac:chgData name="Rebecca Hammer" userId="d0d35612-6d50-41f6-a7cb-ec692616c1d1" providerId="ADAL" clId="{D2C28B6D-B0D6-44E2-AB2F-07AEB9B7E4ED}" dt="2025-05-27T15:32:32.696" v="321" actId="1076"/>
          <ac:picMkLst>
            <pc:docMk/>
            <pc:sldMk cId="1193953862" sldId="2147375970"/>
            <ac:picMk id="8250" creationId="{C54DB430-C2D5-F071-FED6-A1F8C372B6C6}"/>
          </ac:picMkLst>
        </pc:picChg>
        <pc:picChg chg="mod">
          <ac:chgData name="Rebecca Hammer" userId="d0d35612-6d50-41f6-a7cb-ec692616c1d1" providerId="ADAL" clId="{D2C28B6D-B0D6-44E2-AB2F-07AEB9B7E4ED}" dt="2025-05-27T15:22:53.261" v="277" actId="1076"/>
          <ac:picMkLst>
            <pc:docMk/>
            <pc:sldMk cId="1193953862" sldId="2147375970"/>
            <ac:picMk id="11272" creationId="{9FC98DE7-A0BD-A5FA-E456-940D770D142D}"/>
          </ac:picMkLst>
        </pc:picChg>
        <pc:picChg chg="mod">
          <ac:chgData name="Rebecca Hammer" userId="d0d35612-6d50-41f6-a7cb-ec692616c1d1" providerId="ADAL" clId="{D2C28B6D-B0D6-44E2-AB2F-07AEB9B7E4ED}" dt="2025-05-27T15:33:56.644" v="326" actId="1076"/>
          <ac:picMkLst>
            <pc:docMk/>
            <pc:sldMk cId="1193953862" sldId="2147375970"/>
            <ac:picMk id="11276" creationId="{FC638A85-47A2-B1E5-11CE-4241A4C4157A}"/>
          </ac:picMkLst>
        </pc:picChg>
        <pc:picChg chg="mod">
          <ac:chgData name="Rebecca Hammer" userId="d0d35612-6d50-41f6-a7cb-ec692616c1d1" providerId="ADAL" clId="{D2C28B6D-B0D6-44E2-AB2F-07AEB9B7E4ED}" dt="2025-05-27T15:22:52.066" v="276" actId="1076"/>
          <ac:picMkLst>
            <pc:docMk/>
            <pc:sldMk cId="1193953862" sldId="2147375970"/>
            <ac:picMk id="11280" creationId="{FC66FA6A-B693-F91F-7F11-B8C64DE2BFFD}"/>
          </ac:picMkLst>
        </pc:picChg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3915758336" sldId="2147375971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4015615937" sldId="2147478345"/>
        </pc:sldMkLst>
      </pc:sldChg>
      <pc:sldChg chg="delSp modSp add mod">
        <pc:chgData name="Rebecca Hammer" userId="d0d35612-6d50-41f6-a7cb-ec692616c1d1" providerId="ADAL" clId="{D2C28B6D-B0D6-44E2-AB2F-07AEB9B7E4ED}" dt="2025-05-28T12:46:20.689" v="3314" actId="1076"/>
        <pc:sldMkLst>
          <pc:docMk/>
          <pc:sldMk cId="3170179482" sldId="2147478935"/>
        </pc:sldMkLst>
        <pc:spChg chg="mod">
          <ac:chgData name="Rebecca Hammer" userId="d0d35612-6d50-41f6-a7cb-ec692616c1d1" providerId="ADAL" clId="{D2C28B6D-B0D6-44E2-AB2F-07AEB9B7E4ED}" dt="2025-05-28T12:46:20.689" v="3314" actId="1076"/>
          <ac:spMkLst>
            <pc:docMk/>
            <pc:sldMk cId="3170179482" sldId="2147478935"/>
            <ac:spMk id="34" creationId="{5D113F5F-C741-C43A-0C46-043374058B72}"/>
          </ac:spMkLst>
        </pc:spChg>
        <pc:spChg chg="mod">
          <ac:chgData name="Rebecca Hammer" userId="d0d35612-6d50-41f6-a7cb-ec692616c1d1" providerId="ADAL" clId="{D2C28B6D-B0D6-44E2-AB2F-07AEB9B7E4ED}" dt="2025-05-28T12:46:20.689" v="3314" actId="1076"/>
          <ac:spMkLst>
            <pc:docMk/>
            <pc:sldMk cId="3170179482" sldId="2147478935"/>
            <ac:spMk id="35" creationId="{86F5BEDD-4FC6-E244-CA69-8A8DB06FA70E}"/>
          </ac:spMkLst>
        </pc:spChg>
        <pc:spChg chg="mod">
          <ac:chgData name="Rebecca Hammer" userId="d0d35612-6d50-41f6-a7cb-ec692616c1d1" providerId="ADAL" clId="{D2C28B6D-B0D6-44E2-AB2F-07AEB9B7E4ED}" dt="2025-05-28T12:46:20.689" v="3314" actId="1076"/>
          <ac:spMkLst>
            <pc:docMk/>
            <pc:sldMk cId="3170179482" sldId="2147478935"/>
            <ac:spMk id="36" creationId="{F6044815-5172-3F91-C04A-CEF38B906A61}"/>
          </ac:spMkLst>
        </pc:spChg>
        <pc:spChg chg="mod">
          <ac:chgData name="Rebecca Hammer" userId="d0d35612-6d50-41f6-a7cb-ec692616c1d1" providerId="ADAL" clId="{D2C28B6D-B0D6-44E2-AB2F-07AEB9B7E4ED}" dt="2025-05-28T12:46:20.689" v="3314" actId="1076"/>
          <ac:spMkLst>
            <pc:docMk/>
            <pc:sldMk cId="3170179482" sldId="2147478935"/>
            <ac:spMk id="37" creationId="{07A887CE-1171-8B29-3105-10ADA92C2C72}"/>
          </ac:spMkLst>
        </pc:spChg>
        <pc:spChg chg="mod">
          <ac:chgData name="Rebecca Hammer" userId="d0d35612-6d50-41f6-a7cb-ec692616c1d1" providerId="ADAL" clId="{D2C28B6D-B0D6-44E2-AB2F-07AEB9B7E4ED}" dt="2025-05-28T12:46:20.689" v="3314" actId="1076"/>
          <ac:spMkLst>
            <pc:docMk/>
            <pc:sldMk cId="3170179482" sldId="2147478935"/>
            <ac:spMk id="38" creationId="{0535A4ED-5A38-C747-0A54-DF9B8888E065}"/>
          </ac:spMkLst>
        </pc:spChg>
        <pc:picChg chg="mod">
          <ac:chgData name="Rebecca Hammer" userId="d0d35612-6d50-41f6-a7cb-ec692616c1d1" providerId="ADAL" clId="{D2C28B6D-B0D6-44E2-AB2F-07AEB9B7E4ED}" dt="2025-05-28T12:46:20.689" v="3314" actId="1076"/>
          <ac:picMkLst>
            <pc:docMk/>
            <pc:sldMk cId="3170179482" sldId="2147478935"/>
            <ac:picMk id="39" creationId="{D2C8BBF5-FC1D-A1BB-BCA5-4E9A0FD9AD48}"/>
          </ac:picMkLst>
        </pc:picChg>
        <pc:picChg chg="mod">
          <ac:chgData name="Rebecca Hammer" userId="d0d35612-6d50-41f6-a7cb-ec692616c1d1" providerId="ADAL" clId="{D2C28B6D-B0D6-44E2-AB2F-07AEB9B7E4ED}" dt="2025-05-28T12:46:20.689" v="3314" actId="1076"/>
          <ac:picMkLst>
            <pc:docMk/>
            <pc:sldMk cId="3170179482" sldId="2147478935"/>
            <ac:picMk id="47" creationId="{04CE0984-BE30-7340-87DA-A02BBEA2402E}"/>
          </ac:picMkLst>
        </pc:picChg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1771614828" sldId="2147482117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437804487" sldId="2147482122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1443663424" sldId="2147482123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4111193420" sldId="2147482124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824808137" sldId="2147482125"/>
        </pc:sldMkLst>
      </pc:sldChg>
      <pc:sldChg chg="del">
        <pc:chgData name="Rebecca Hammer" userId="d0d35612-6d50-41f6-a7cb-ec692616c1d1" providerId="ADAL" clId="{D2C28B6D-B0D6-44E2-AB2F-07AEB9B7E4ED}" dt="2025-05-27T17:02:27.511" v="834" actId="47"/>
        <pc:sldMkLst>
          <pc:docMk/>
          <pc:sldMk cId="1146313935" sldId="2147482126"/>
        </pc:sldMkLst>
      </pc:sldChg>
      <pc:sldChg chg="add del">
        <pc:chgData name="Rebecca Hammer" userId="d0d35612-6d50-41f6-a7cb-ec692616c1d1" providerId="ADAL" clId="{D2C28B6D-B0D6-44E2-AB2F-07AEB9B7E4ED}" dt="2025-05-27T17:02:27.511" v="834" actId="47"/>
        <pc:sldMkLst>
          <pc:docMk/>
          <pc:sldMk cId="3042557816" sldId="2147482127"/>
        </pc:sldMkLst>
      </pc:sldChg>
      <pc:sldChg chg="addSp delSp modSp new del mod ord">
        <pc:chgData name="Rebecca Hammer" userId="d0d35612-6d50-41f6-a7cb-ec692616c1d1" providerId="ADAL" clId="{D2C28B6D-B0D6-44E2-AB2F-07AEB9B7E4ED}" dt="2025-05-27T13:17:38.100" v="188" actId="47"/>
        <pc:sldMkLst>
          <pc:docMk/>
          <pc:sldMk cId="1259961699" sldId="2147482128"/>
        </pc:sldMkLst>
      </pc:sldChg>
      <pc:sldChg chg="new del">
        <pc:chgData name="Rebecca Hammer" userId="d0d35612-6d50-41f6-a7cb-ec692616c1d1" providerId="ADAL" clId="{D2C28B6D-B0D6-44E2-AB2F-07AEB9B7E4ED}" dt="2025-05-27T13:16:07.311" v="177" actId="47"/>
        <pc:sldMkLst>
          <pc:docMk/>
          <pc:sldMk cId="2147707961" sldId="2147482128"/>
        </pc:sldMkLst>
      </pc:sldChg>
      <pc:sldChg chg="addSp delSp modSp new mod">
        <pc:chgData name="Rebecca Hammer" userId="d0d35612-6d50-41f6-a7cb-ec692616c1d1" providerId="ADAL" clId="{D2C28B6D-B0D6-44E2-AB2F-07AEB9B7E4ED}" dt="2025-05-27T13:21:29.543" v="275" actId="20577"/>
        <pc:sldMkLst>
          <pc:docMk/>
          <pc:sldMk cId="1170156885" sldId="2147482129"/>
        </pc:sldMkLst>
        <pc:spChg chg="add mod">
          <ac:chgData name="Rebecca Hammer" userId="d0d35612-6d50-41f6-a7cb-ec692616c1d1" providerId="ADAL" clId="{D2C28B6D-B0D6-44E2-AB2F-07AEB9B7E4ED}" dt="2025-05-27T13:21:29.543" v="275" actId="20577"/>
          <ac:spMkLst>
            <pc:docMk/>
            <pc:sldMk cId="1170156885" sldId="2147482129"/>
            <ac:spMk id="2" creationId="{C870FBDC-15B1-D27A-C7D0-3A5E272D77ED}"/>
          </ac:spMkLst>
        </pc:spChg>
        <pc:picChg chg="add ord">
          <ac:chgData name="Rebecca Hammer" userId="d0d35612-6d50-41f6-a7cb-ec692616c1d1" providerId="ADAL" clId="{D2C28B6D-B0D6-44E2-AB2F-07AEB9B7E4ED}" dt="2025-05-27T13:19:49.675" v="257" actId="167"/>
          <ac:picMkLst>
            <pc:docMk/>
            <pc:sldMk cId="1170156885" sldId="2147482129"/>
            <ac:picMk id="6" creationId="{F5B3A98C-C95C-6539-1BAE-8820F5E1904C}"/>
          </ac:picMkLst>
        </pc:picChg>
        <pc:picChg chg="add mod">
          <ac:chgData name="Rebecca Hammer" userId="d0d35612-6d50-41f6-a7cb-ec692616c1d1" providerId="ADAL" clId="{D2C28B6D-B0D6-44E2-AB2F-07AEB9B7E4ED}" dt="2025-05-27T13:21:04.671" v="263" actId="1076"/>
          <ac:picMkLst>
            <pc:docMk/>
            <pc:sldMk cId="1170156885" sldId="2147482129"/>
            <ac:picMk id="3074" creationId="{5329ADEF-CC23-15A8-07E4-6DBC4CC6CACF}"/>
          </ac:picMkLst>
        </pc:picChg>
      </pc:sldChg>
      <pc:sldChg chg="addSp delSp modSp new del mod ord modClrScheme chgLayout">
        <pc:chgData name="Rebecca Hammer" userId="d0d35612-6d50-41f6-a7cb-ec692616c1d1" providerId="ADAL" clId="{D2C28B6D-B0D6-44E2-AB2F-07AEB9B7E4ED}" dt="2025-05-27T13:16:07.311" v="177" actId="47"/>
        <pc:sldMkLst>
          <pc:docMk/>
          <pc:sldMk cId="3356406802" sldId="2147482129"/>
        </pc:sldMkLst>
      </pc:sldChg>
      <pc:sldChg chg="addSp modSp new del mod">
        <pc:chgData name="Rebecca Hammer" userId="d0d35612-6d50-41f6-a7cb-ec692616c1d1" providerId="ADAL" clId="{D2C28B6D-B0D6-44E2-AB2F-07AEB9B7E4ED}" dt="2025-05-27T13:20:06.135" v="261" actId="47"/>
        <pc:sldMkLst>
          <pc:docMk/>
          <pc:sldMk cId="534767710" sldId="2147482130"/>
        </pc:sldMkLst>
      </pc:sldChg>
      <pc:sldChg chg="delSp modSp add mod modTransition">
        <pc:chgData name="Rebecca Hammer" userId="d0d35612-6d50-41f6-a7cb-ec692616c1d1" providerId="ADAL" clId="{D2C28B6D-B0D6-44E2-AB2F-07AEB9B7E4ED}" dt="2025-05-28T11:59:30.393" v="2787" actId="20577"/>
        <pc:sldMkLst>
          <pc:docMk/>
          <pc:sldMk cId="3899143237" sldId="2147482130"/>
        </pc:sldMkLst>
        <pc:spChg chg="mod">
          <ac:chgData name="Rebecca Hammer" userId="d0d35612-6d50-41f6-a7cb-ec692616c1d1" providerId="ADAL" clId="{D2C28B6D-B0D6-44E2-AB2F-07AEB9B7E4ED}" dt="2025-05-28T11:59:30.393" v="2787" actId="20577"/>
          <ac:spMkLst>
            <pc:docMk/>
            <pc:sldMk cId="3899143237" sldId="2147482130"/>
            <ac:spMk id="2" creationId="{1CA2EEA0-CB30-D419-FD3B-B9B927DAED85}"/>
          </ac:spMkLst>
        </pc:spChg>
        <pc:spChg chg="mod">
          <ac:chgData name="Rebecca Hammer" userId="d0d35612-6d50-41f6-a7cb-ec692616c1d1" providerId="ADAL" clId="{D2C28B6D-B0D6-44E2-AB2F-07AEB9B7E4ED}" dt="2025-05-28T09:46:19.713" v="957" actId="207"/>
          <ac:spMkLst>
            <pc:docMk/>
            <pc:sldMk cId="3899143237" sldId="2147482130"/>
            <ac:spMk id="17" creationId="{135768E6-E462-0E66-49EC-B60705EF94D9}"/>
          </ac:spMkLst>
        </pc:spChg>
        <pc:spChg chg="mod">
          <ac:chgData name="Rebecca Hammer" userId="d0d35612-6d50-41f6-a7cb-ec692616c1d1" providerId="ADAL" clId="{D2C28B6D-B0D6-44E2-AB2F-07AEB9B7E4ED}" dt="2025-05-28T09:47:12.491" v="964" actId="207"/>
          <ac:spMkLst>
            <pc:docMk/>
            <pc:sldMk cId="3899143237" sldId="2147482130"/>
            <ac:spMk id="19" creationId="{B1CF1851-2017-40D7-583C-81880531C421}"/>
          </ac:spMkLst>
        </pc:spChg>
        <pc:spChg chg="mod">
          <ac:chgData name="Rebecca Hammer" userId="d0d35612-6d50-41f6-a7cb-ec692616c1d1" providerId="ADAL" clId="{D2C28B6D-B0D6-44E2-AB2F-07AEB9B7E4ED}" dt="2025-05-28T09:46:19.713" v="957" actId="207"/>
          <ac:spMkLst>
            <pc:docMk/>
            <pc:sldMk cId="3899143237" sldId="2147482130"/>
            <ac:spMk id="23" creationId="{2C1D5576-70B7-B7DE-BABF-30BEF49C8351}"/>
          </ac:spMkLst>
        </pc:spChg>
        <pc:spChg chg="mod">
          <ac:chgData name="Rebecca Hammer" userId="d0d35612-6d50-41f6-a7cb-ec692616c1d1" providerId="ADAL" clId="{D2C28B6D-B0D6-44E2-AB2F-07AEB9B7E4ED}" dt="2025-05-28T09:46:53.112" v="962" actId="207"/>
          <ac:spMkLst>
            <pc:docMk/>
            <pc:sldMk cId="3899143237" sldId="2147482130"/>
            <ac:spMk id="25" creationId="{769AEA94-5EB1-86C6-01F1-BEEDF1E62446}"/>
          </ac:spMkLst>
        </pc:spChg>
        <pc:spChg chg="mod">
          <ac:chgData name="Rebecca Hammer" userId="d0d35612-6d50-41f6-a7cb-ec692616c1d1" providerId="ADAL" clId="{D2C28B6D-B0D6-44E2-AB2F-07AEB9B7E4ED}" dt="2025-05-27T15:42:30.812" v="465" actId="207"/>
          <ac:spMkLst>
            <pc:docMk/>
            <pc:sldMk cId="3899143237" sldId="2147482130"/>
            <ac:spMk id="26" creationId="{A46EEF22-2AD0-2A96-E60C-42A14DFA87C6}"/>
          </ac:spMkLst>
        </pc:spChg>
        <pc:spChg chg="mod">
          <ac:chgData name="Rebecca Hammer" userId="d0d35612-6d50-41f6-a7cb-ec692616c1d1" providerId="ADAL" clId="{D2C28B6D-B0D6-44E2-AB2F-07AEB9B7E4ED}" dt="2025-05-28T09:47:26.711" v="966" actId="207"/>
          <ac:spMkLst>
            <pc:docMk/>
            <pc:sldMk cId="3899143237" sldId="2147482130"/>
            <ac:spMk id="27" creationId="{5518C1EB-501E-4CB4-7216-1F7EC3FBC813}"/>
          </ac:spMkLst>
        </pc:spChg>
        <pc:spChg chg="mod">
          <ac:chgData name="Rebecca Hammer" userId="d0d35612-6d50-41f6-a7cb-ec692616c1d1" providerId="ADAL" clId="{D2C28B6D-B0D6-44E2-AB2F-07AEB9B7E4ED}" dt="2025-05-28T09:46:19.713" v="957" actId="207"/>
          <ac:spMkLst>
            <pc:docMk/>
            <pc:sldMk cId="3899143237" sldId="2147482130"/>
            <ac:spMk id="29" creationId="{648C53B4-1A05-5DB1-CB36-DE4CB1BAFDD1}"/>
          </ac:spMkLst>
        </pc:spChg>
        <pc:spChg chg="mod">
          <ac:chgData name="Rebecca Hammer" userId="d0d35612-6d50-41f6-a7cb-ec692616c1d1" providerId="ADAL" clId="{D2C28B6D-B0D6-44E2-AB2F-07AEB9B7E4ED}" dt="2025-05-28T09:47:12.491" v="964" actId="207"/>
          <ac:spMkLst>
            <pc:docMk/>
            <pc:sldMk cId="3899143237" sldId="2147482130"/>
            <ac:spMk id="31" creationId="{FBCBCA74-895A-A5B6-9D91-ACA4399D4622}"/>
          </ac:spMkLst>
        </pc:spChg>
        <pc:spChg chg="mod">
          <ac:chgData name="Rebecca Hammer" userId="d0d35612-6d50-41f6-a7cb-ec692616c1d1" providerId="ADAL" clId="{D2C28B6D-B0D6-44E2-AB2F-07AEB9B7E4ED}" dt="2025-05-28T09:46:24.567" v="958" actId="207"/>
          <ac:spMkLst>
            <pc:docMk/>
            <pc:sldMk cId="3899143237" sldId="2147482130"/>
            <ac:spMk id="32" creationId="{9924343B-6673-2529-704A-BA23A14DFB7C}"/>
          </ac:spMkLst>
        </pc:spChg>
        <pc:spChg chg="mod">
          <ac:chgData name="Rebecca Hammer" userId="d0d35612-6d50-41f6-a7cb-ec692616c1d1" providerId="ADAL" clId="{D2C28B6D-B0D6-44E2-AB2F-07AEB9B7E4ED}" dt="2025-05-28T09:47:05.176" v="963" actId="207"/>
          <ac:spMkLst>
            <pc:docMk/>
            <pc:sldMk cId="3899143237" sldId="2147482130"/>
            <ac:spMk id="34" creationId="{4DAA8067-7C4E-98F8-AA4E-53B04037530D}"/>
          </ac:spMkLst>
        </pc:spChg>
        <pc:spChg chg="mod">
          <ac:chgData name="Rebecca Hammer" userId="d0d35612-6d50-41f6-a7cb-ec692616c1d1" providerId="ADAL" clId="{D2C28B6D-B0D6-44E2-AB2F-07AEB9B7E4ED}" dt="2025-05-28T09:46:24.567" v="958" actId="207"/>
          <ac:spMkLst>
            <pc:docMk/>
            <pc:sldMk cId="3899143237" sldId="2147482130"/>
            <ac:spMk id="35" creationId="{4AD38850-F553-5FB0-3965-7AF2BBEE7E02}"/>
          </ac:spMkLst>
        </pc:spChg>
        <pc:spChg chg="mod">
          <ac:chgData name="Rebecca Hammer" userId="d0d35612-6d50-41f6-a7cb-ec692616c1d1" providerId="ADAL" clId="{D2C28B6D-B0D6-44E2-AB2F-07AEB9B7E4ED}" dt="2025-05-28T09:47:12.491" v="964" actId="207"/>
          <ac:spMkLst>
            <pc:docMk/>
            <pc:sldMk cId="3899143237" sldId="2147482130"/>
            <ac:spMk id="37" creationId="{1EBF46DD-4696-7075-6378-8282D7C27339}"/>
          </ac:spMkLst>
        </pc:spChg>
        <pc:spChg chg="mod">
          <ac:chgData name="Rebecca Hammer" userId="d0d35612-6d50-41f6-a7cb-ec692616c1d1" providerId="ADAL" clId="{D2C28B6D-B0D6-44E2-AB2F-07AEB9B7E4ED}" dt="2025-05-28T09:46:24.567" v="958" actId="207"/>
          <ac:spMkLst>
            <pc:docMk/>
            <pc:sldMk cId="3899143237" sldId="2147482130"/>
            <ac:spMk id="38" creationId="{F969D042-D08E-A872-245D-B0CD51221DD2}"/>
          </ac:spMkLst>
        </pc:spChg>
        <pc:spChg chg="mod">
          <ac:chgData name="Rebecca Hammer" userId="d0d35612-6d50-41f6-a7cb-ec692616c1d1" providerId="ADAL" clId="{D2C28B6D-B0D6-44E2-AB2F-07AEB9B7E4ED}" dt="2025-05-28T09:46:24.567" v="958" actId="207"/>
          <ac:spMkLst>
            <pc:docMk/>
            <pc:sldMk cId="3899143237" sldId="2147482130"/>
            <ac:spMk id="41" creationId="{EF278C35-B22D-F801-5374-A2D231F83608}"/>
          </ac:spMkLst>
        </pc:spChg>
        <pc:spChg chg="mod">
          <ac:chgData name="Rebecca Hammer" userId="d0d35612-6d50-41f6-a7cb-ec692616c1d1" providerId="ADAL" clId="{D2C28B6D-B0D6-44E2-AB2F-07AEB9B7E4ED}" dt="2025-05-28T09:46:53.112" v="962" actId="207"/>
          <ac:spMkLst>
            <pc:docMk/>
            <pc:sldMk cId="3899143237" sldId="2147482130"/>
            <ac:spMk id="44" creationId="{DB459A6F-343E-15F9-5B2C-4633AADBF266}"/>
          </ac:spMkLst>
        </pc:spChg>
        <pc:spChg chg="mod">
          <ac:chgData name="Rebecca Hammer" userId="d0d35612-6d50-41f6-a7cb-ec692616c1d1" providerId="ADAL" clId="{D2C28B6D-B0D6-44E2-AB2F-07AEB9B7E4ED}" dt="2025-05-27T15:43:27.138" v="470" actId="403"/>
          <ac:spMkLst>
            <pc:docMk/>
            <pc:sldMk cId="3899143237" sldId="2147482130"/>
            <ac:spMk id="45" creationId="{B676C701-BB62-FEA0-FF20-DF253F236C33}"/>
          </ac:spMkLst>
        </pc:spChg>
        <pc:spChg chg="mod">
          <ac:chgData name="Rebecca Hammer" userId="d0d35612-6d50-41f6-a7cb-ec692616c1d1" providerId="ADAL" clId="{D2C28B6D-B0D6-44E2-AB2F-07AEB9B7E4ED}" dt="2025-05-28T09:47:26.711" v="966" actId="207"/>
          <ac:spMkLst>
            <pc:docMk/>
            <pc:sldMk cId="3899143237" sldId="2147482130"/>
            <ac:spMk id="46" creationId="{7B31DE6D-1E39-758C-92C0-1A60D18D130E}"/>
          </ac:spMkLst>
        </pc:spChg>
        <pc:spChg chg="mod">
          <ac:chgData name="Rebecca Hammer" userId="d0d35612-6d50-41f6-a7cb-ec692616c1d1" providerId="ADAL" clId="{D2C28B6D-B0D6-44E2-AB2F-07AEB9B7E4ED}" dt="2025-05-28T09:46:29.069" v="959" actId="207"/>
          <ac:spMkLst>
            <pc:docMk/>
            <pc:sldMk cId="3899143237" sldId="2147482130"/>
            <ac:spMk id="47" creationId="{6DA18800-5230-EF29-C6E9-38916FC5770C}"/>
          </ac:spMkLst>
        </pc:spChg>
        <pc:spChg chg="mod">
          <ac:chgData name="Rebecca Hammer" userId="d0d35612-6d50-41f6-a7cb-ec692616c1d1" providerId="ADAL" clId="{D2C28B6D-B0D6-44E2-AB2F-07AEB9B7E4ED}" dt="2025-05-28T09:46:29.069" v="959" actId="207"/>
          <ac:spMkLst>
            <pc:docMk/>
            <pc:sldMk cId="3899143237" sldId="2147482130"/>
            <ac:spMk id="50" creationId="{544A8082-BDE4-25B0-6929-D1BE7342C6E7}"/>
          </ac:spMkLst>
        </pc:spChg>
        <pc:spChg chg="mod">
          <ac:chgData name="Rebecca Hammer" userId="d0d35612-6d50-41f6-a7cb-ec692616c1d1" providerId="ADAL" clId="{D2C28B6D-B0D6-44E2-AB2F-07AEB9B7E4ED}" dt="2025-05-28T09:47:12.491" v="964" actId="207"/>
          <ac:spMkLst>
            <pc:docMk/>
            <pc:sldMk cId="3899143237" sldId="2147482130"/>
            <ac:spMk id="52" creationId="{2761C017-CC9F-AF56-2C3D-A64AF2B0067F}"/>
          </ac:spMkLst>
        </pc:spChg>
        <pc:spChg chg="mod">
          <ac:chgData name="Rebecca Hammer" userId="d0d35612-6d50-41f6-a7cb-ec692616c1d1" providerId="ADAL" clId="{D2C28B6D-B0D6-44E2-AB2F-07AEB9B7E4ED}" dt="2025-05-28T09:46:29.069" v="959" actId="207"/>
          <ac:spMkLst>
            <pc:docMk/>
            <pc:sldMk cId="3899143237" sldId="2147482130"/>
            <ac:spMk id="53" creationId="{F97DD89D-691E-0403-27E1-2CA285833EAF}"/>
          </ac:spMkLst>
        </pc:spChg>
        <pc:spChg chg="mod">
          <ac:chgData name="Rebecca Hammer" userId="d0d35612-6d50-41f6-a7cb-ec692616c1d1" providerId="ADAL" clId="{D2C28B6D-B0D6-44E2-AB2F-07AEB9B7E4ED}" dt="2025-05-28T09:47:12.491" v="964" actId="207"/>
          <ac:spMkLst>
            <pc:docMk/>
            <pc:sldMk cId="3899143237" sldId="2147482130"/>
            <ac:spMk id="55" creationId="{774125A7-E802-C043-91C2-CBBE5D481346}"/>
          </ac:spMkLst>
        </pc:spChg>
        <pc:spChg chg="mod">
          <ac:chgData name="Rebecca Hammer" userId="d0d35612-6d50-41f6-a7cb-ec692616c1d1" providerId="ADAL" clId="{D2C28B6D-B0D6-44E2-AB2F-07AEB9B7E4ED}" dt="2025-05-28T09:46:29.069" v="959" actId="207"/>
          <ac:spMkLst>
            <pc:docMk/>
            <pc:sldMk cId="3899143237" sldId="2147482130"/>
            <ac:spMk id="56" creationId="{22F90644-A7B7-F9C5-B497-2162F82BC3F7}"/>
          </ac:spMkLst>
        </pc:spChg>
        <pc:spChg chg="mod">
          <ac:chgData name="Rebecca Hammer" userId="d0d35612-6d50-41f6-a7cb-ec692616c1d1" providerId="ADAL" clId="{D2C28B6D-B0D6-44E2-AB2F-07AEB9B7E4ED}" dt="2025-05-28T09:46:29.069" v="959" actId="207"/>
          <ac:spMkLst>
            <pc:docMk/>
            <pc:sldMk cId="3899143237" sldId="2147482130"/>
            <ac:spMk id="59" creationId="{C9B57F34-2CB7-DEF6-CFAB-BB47673C207F}"/>
          </ac:spMkLst>
        </pc:spChg>
        <pc:spChg chg="mod">
          <ac:chgData name="Rebecca Hammer" userId="d0d35612-6d50-41f6-a7cb-ec692616c1d1" providerId="ADAL" clId="{D2C28B6D-B0D6-44E2-AB2F-07AEB9B7E4ED}" dt="2025-05-28T09:47:21.742" v="965" actId="207"/>
          <ac:spMkLst>
            <pc:docMk/>
            <pc:sldMk cId="3899143237" sldId="2147482130"/>
            <ac:spMk id="61" creationId="{2A3D3A67-6991-36C7-4A16-0E3678397775}"/>
          </ac:spMkLst>
        </pc:spChg>
        <pc:spChg chg="mod">
          <ac:chgData name="Rebecca Hammer" userId="d0d35612-6d50-41f6-a7cb-ec692616c1d1" providerId="ADAL" clId="{D2C28B6D-B0D6-44E2-AB2F-07AEB9B7E4ED}" dt="2025-05-28T09:46:29.069" v="959" actId="207"/>
          <ac:spMkLst>
            <pc:docMk/>
            <pc:sldMk cId="3899143237" sldId="2147482130"/>
            <ac:spMk id="62" creationId="{AF117CE1-ADB7-3B5C-BFC7-7FCDC8C53D6B}"/>
          </ac:spMkLst>
        </pc:spChg>
        <pc:spChg chg="mod">
          <ac:chgData name="Rebecca Hammer" userId="d0d35612-6d50-41f6-a7cb-ec692616c1d1" providerId="ADAL" clId="{D2C28B6D-B0D6-44E2-AB2F-07AEB9B7E4ED}" dt="2025-05-28T09:47:12.491" v="964" actId="207"/>
          <ac:spMkLst>
            <pc:docMk/>
            <pc:sldMk cId="3899143237" sldId="2147482130"/>
            <ac:spMk id="64" creationId="{DB117D56-31C8-4587-E520-F5E351378B4C}"/>
          </ac:spMkLst>
        </pc:spChg>
        <pc:spChg chg="mod">
          <ac:chgData name="Rebecca Hammer" userId="d0d35612-6d50-41f6-a7cb-ec692616c1d1" providerId="ADAL" clId="{D2C28B6D-B0D6-44E2-AB2F-07AEB9B7E4ED}" dt="2025-05-28T09:46:29.069" v="959" actId="207"/>
          <ac:spMkLst>
            <pc:docMk/>
            <pc:sldMk cId="3899143237" sldId="2147482130"/>
            <ac:spMk id="65" creationId="{E5D91A9F-C7B5-A1D4-D753-692218B0A20E}"/>
          </ac:spMkLst>
        </pc:spChg>
        <pc:spChg chg="mod">
          <ac:chgData name="Rebecca Hammer" userId="d0d35612-6d50-41f6-a7cb-ec692616c1d1" providerId="ADAL" clId="{D2C28B6D-B0D6-44E2-AB2F-07AEB9B7E4ED}" dt="2025-05-28T09:47:21.742" v="965" actId="207"/>
          <ac:spMkLst>
            <pc:docMk/>
            <pc:sldMk cId="3899143237" sldId="2147482130"/>
            <ac:spMk id="67" creationId="{40735E85-DE9F-AEC2-2386-276B3F25F267}"/>
          </ac:spMkLst>
        </pc:spChg>
        <pc:spChg chg="mod">
          <ac:chgData name="Rebecca Hammer" userId="d0d35612-6d50-41f6-a7cb-ec692616c1d1" providerId="ADAL" clId="{D2C28B6D-B0D6-44E2-AB2F-07AEB9B7E4ED}" dt="2025-05-28T09:46:33.208" v="960" actId="207"/>
          <ac:spMkLst>
            <pc:docMk/>
            <pc:sldMk cId="3899143237" sldId="2147482130"/>
            <ac:spMk id="68" creationId="{588020DF-0EE8-869C-B86E-3A524ED21D8E}"/>
          </ac:spMkLst>
        </pc:spChg>
        <pc:spChg chg="mod">
          <ac:chgData name="Rebecca Hammer" userId="d0d35612-6d50-41f6-a7cb-ec692616c1d1" providerId="ADAL" clId="{D2C28B6D-B0D6-44E2-AB2F-07AEB9B7E4ED}" dt="2025-05-28T09:46:33.208" v="960" actId="207"/>
          <ac:spMkLst>
            <pc:docMk/>
            <pc:sldMk cId="3899143237" sldId="2147482130"/>
            <ac:spMk id="71" creationId="{E3D092D8-42F4-CE76-0008-22E0B0363198}"/>
          </ac:spMkLst>
        </pc:spChg>
        <pc:spChg chg="mod">
          <ac:chgData name="Rebecca Hammer" userId="d0d35612-6d50-41f6-a7cb-ec692616c1d1" providerId="ADAL" clId="{D2C28B6D-B0D6-44E2-AB2F-07AEB9B7E4ED}" dt="2025-05-28T09:47:12.491" v="964" actId="207"/>
          <ac:spMkLst>
            <pc:docMk/>
            <pc:sldMk cId="3899143237" sldId="2147482130"/>
            <ac:spMk id="73" creationId="{40E00BD5-EE54-D2C6-3097-317AF4FB768A}"/>
          </ac:spMkLst>
        </pc:spChg>
        <pc:spChg chg="mod">
          <ac:chgData name="Rebecca Hammer" userId="d0d35612-6d50-41f6-a7cb-ec692616c1d1" providerId="ADAL" clId="{D2C28B6D-B0D6-44E2-AB2F-07AEB9B7E4ED}" dt="2025-05-28T09:46:33.208" v="960" actId="207"/>
          <ac:spMkLst>
            <pc:docMk/>
            <pc:sldMk cId="3899143237" sldId="2147482130"/>
            <ac:spMk id="74" creationId="{79A8569A-E3BF-532E-1076-5E49D3E6054F}"/>
          </ac:spMkLst>
        </pc:spChg>
        <pc:spChg chg="mod">
          <ac:chgData name="Rebecca Hammer" userId="d0d35612-6d50-41f6-a7cb-ec692616c1d1" providerId="ADAL" clId="{D2C28B6D-B0D6-44E2-AB2F-07AEB9B7E4ED}" dt="2025-05-28T09:46:33.208" v="960" actId="207"/>
          <ac:spMkLst>
            <pc:docMk/>
            <pc:sldMk cId="3899143237" sldId="2147482130"/>
            <ac:spMk id="77" creationId="{0C1954F8-6A6B-4B46-F36F-AD2B42790700}"/>
          </ac:spMkLst>
        </pc:spChg>
        <pc:spChg chg="mod">
          <ac:chgData name="Rebecca Hammer" userId="d0d35612-6d50-41f6-a7cb-ec692616c1d1" providerId="ADAL" clId="{D2C28B6D-B0D6-44E2-AB2F-07AEB9B7E4ED}" dt="2025-05-28T09:47:05.176" v="963" actId="207"/>
          <ac:spMkLst>
            <pc:docMk/>
            <pc:sldMk cId="3899143237" sldId="2147482130"/>
            <ac:spMk id="79" creationId="{61D00827-A61E-ABFA-D711-09A79B8FF183}"/>
          </ac:spMkLst>
        </pc:spChg>
        <pc:spChg chg="mod">
          <ac:chgData name="Rebecca Hammer" userId="d0d35612-6d50-41f6-a7cb-ec692616c1d1" providerId="ADAL" clId="{D2C28B6D-B0D6-44E2-AB2F-07AEB9B7E4ED}" dt="2025-05-28T09:46:33.208" v="960" actId="207"/>
          <ac:spMkLst>
            <pc:docMk/>
            <pc:sldMk cId="3899143237" sldId="2147482130"/>
            <ac:spMk id="80" creationId="{603A97D3-92F3-C55E-227D-496444F673FB}"/>
          </ac:spMkLst>
        </pc:spChg>
        <pc:spChg chg="mod">
          <ac:chgData name="Rebecca Hammer" userId="d0d35612-6d50-41f6-a7cb-ec692616c1d1" providerId="ADAL" clId="{D2C28B6D-B0D6-44E2-AB2F-07AEB9B7E4ED}" dt="2025-05-28T09:47:05.176" v="963" actId="207"/>
          <ac:spMkLst>
            <pc:docMk/>
            <pc:sldMk cId="3899143237" sldId="2147482130"/>
            <ac:spMk id="82" creationId="{E1220449-B3A7-E61D-704E-79EBC4A4A420}"/>
          </ac:spMkLst>
        </pc:spChg>
        <pc:spChg chg="mod">
          <ac:chgData name="Rebecca Hammer" userId="d0d35612-6d50-41f6-a7cb-ec692616c1d1" providerId="ADAL" clId="{D2C28B6D-B0D6-44E2-AB2F-07AEB9B7E4ED}" dt="2025-05-28T09:46:33.208" v="960" actId="207"/>
          <ac:spMkLst>
            <pc:docMk/>
            <pc:sldMk cId="3899143237" sldId="2147482130"/>
            <ac:spMk id="83" creationId="{55E10E9C-6A74-0043-2E0D-E6887C0FCBAF}"/>
          </ac:spMkLst>
        </pc:spChg>
        <pc:spChg chg="mod">
          <ac:chgData name="Rebecca Hammer" userId="d0d35612-6d50-41f6-a7cb-ec692616c1d1" providerId="ADAL" clId="{D2C28B6D-B0D6-44E2-AB2F-07AEB9B7E4ED}" dt="2025-05-28T09:47:05.176" v="963" actId="207"/>
          <ac:spMkLst>
            <pc:docMk/>
            <pc:sldMk cId="3899143237" sldId="2147482130"/>
            <ac:spMk id="85" creationId="{96B91C80-2AA5-306E-3FF9-25795861D957}"/>
          </ac:spMkLst>
        </pc:spChg>
        <pc:spChg chg="mod">
          <ac:chgData name="Rebecca Hammer" userId="d0d35612-6d50-41f6-a7cb-ec692616c1d1" providerId="ADAL" clId="{D2C28B6D-B0D6-44E2-AB2F-07AEB9B7E4ED}" dt="2025-05-28T09:46:53.112" v="962" actId="207"/>
          <ac:spMkLst>
            <pc:docMk/>
            <pc:sldMk cId="3899143237" sldId="2147482130"/>
            <ac:spMk id="86" creationId="{FD07BB60-3963-36D7-9A7F-36486A206BDE}"/>
          </ac:spMkLst>
        </pc:spChg>
        <pc:spChg chg="mod">
          <ac:chgData name="Rebecca Hammer" userId="d0d35612-6d50-41f6-a7cb-ec692616c1d1" providerId="ADAL" clId="{D2C28B6D-B0D6-44E2-AB2F-07AEB9B7E4ED}" dt="2025-05-27T15:44:06.096" v="475" actId="207"/>
          <ac:spMkLst>
            <pc:docMk/>
            <pc:sldMk cId="3899143237" sldId="2147482130"/>
            <ac:spMk id="87" creationId="{6E27D271-53BF-5082-E228-93F27563BF36}"/>
          </ac:spMkLst>
        </pc:spChg>
        <pc:spChg chg="mod">
          <ac:chgData name="Rebecca Hammer" userId="d0d35612-6d50-41f6-a7cb-ec692616c1d1" providerId="ADAL" clId="{D2C28B6D-B0D6-44E2-AB2F-07AEB9B7E4ED}" dt="2025-05-28T09:47:26.711" v="966" actId="207"/>
          <ac:spMkLst>
            <pc:docMk/>
            <pc:sldMk cId="3899143237" sldId="2147482130"/>
            <ac:spMk id="88" creationId="{6212FA17-A9D4-9C42-3586-317B9812B6F6}"/>
          </ac:spMkLst>
        </pc:spChg>
        <pc:spChg chg="mod">
          <ac:chgData name="Rebecca Hammer" userId="d0d35612-6d50-41f6-a7cb-ec692616c1d1" providerId="ADAL" clId="{D2C28B6D-B0D6-44E2-AB2F-07AEB9B7E4ED}" dt="2025-05-28T09:46:39.638" v="961" actId="207"/>
          <ac:spMkLst>
            <pc:docMk/>
            <pc:sldMk cId="3899143237" sldId="2147482130"/>
            <ac:spMk id="89" creationId="{F780804B-A281-2A8B-47EE-A38FAEEEAB49}"/>
          </ac:spMkLst>
        </pc:spChg>
        <pc:spChg chg="mod">
          <ac:chgData name="Rebecca Hammer" userId="d0d35612-6d50-41f6-a7cb-ec692616c1d1" providerId="ADAL" clId="{D2C28B6D-B0D6-44E2-AB2F-07AEB9B7E4ED}" dt="2025-05-28T09:46:39.638" v="961" actId="207"/>
          <ac:spMkLst>
            <pc:docMk/>
            <pc:sldMk cId="3899143237" sldId="2147482130"/>
            <ac:spMk id="92" creationId="{4EA41F90-8BC1-8A09-5F83-29754765A7A4}"/>
          </ac:spMkLst>
        </pc:spChg>
        <pc:spChg chg="mod">
          <ac:chgData name="Rebecca Hammer" userId="d0d35612-6d50-41f6-a7cb-ec692616c1d1" providerId="ADAL" clId="{D2C28B6D-B0D6-44E2-AB2F-07AEB9B7E4ED}" dt="2025-05-28T09:47:05.176" v="963" actId="207"/>
          <ac:spMkLst>
            <pc:docMk/>
            <pc:sldMk cId="3899143237" sldId="2147482130"/>
            <ac:spMk id="94" creationId="{7A656327-DDC2-2769-5BD2-0E734F173978}"/>
          </ac:spMkLst>
        </pc:spChg>
        <pc:spChg chg="mod">
          <ac:chgData name="Rebecca Hammer" userId="d0d35612-6d50-41f6-a7cb-ec692616c1d1" providerId="ADAL" clId="{D2C28B6D-B0D6-44E2-AB2F-07AEB9B7E4ED}" dt="2025-05-28T09:46:39.638" v="961" actId="207"/>
          <ac:spMkLst>
            <pc:docMk/>
            <pc:sldMk cId="3899143237" sldId="2147482130"/>
            <ac:spMk id="95" creationId="{6171A053-B2DB-EE0E-A1EC-071E9668D4B6}"/>
          </ac:spMkLst>
        </pc:spChg>
        <pc:spChg chg="mod">
          <ac:chgData name="Rebecca Hammer" userId="d0d35612-6d50-41f6-a7cb-ec692616c1d1" providerId="ADAL" clId="{D2C28B6D-B0D6-44E2-AB2F-07AEB9B7E4ED}" dt="2025-05-28T09:47:21.742" v="965" actId="207"/>
          <ac:spMkLst>
            <pc:docMk/>
            <pc:sldMk cId="3899143237" sldId="2147482130"/>
            <ac:spMk id="97" creationId="{5E78CFD3-B95F-30E9-5D6E-F9DF7694004D}"/>
          </ac:spMkLst>
        </pc:spChg>
        <pc:spChg chg="mod">
          <ac:chgData name="Rebecca Hammer" userId="d0d35612-6d50-41f6-a7cb-ec692616c1d1" providerId="ADAL" clId="{D2C28B6D-B0D6-44E2-AB2F-07AEB9B7E4ED}" dt="2025-05-28T09:46:39.638" v="961" actId="207"/>
          <ac:spMkLst>
            <pc:docMk/>
            <pc:sldMk cId="3899143237" sldId="2147482130"/>
            <ac:spMk id="98" creationId="{C5A1B5D0-1E81-EDFC-F1F7-28EFA0E6A092}"/>
          </ac:spMkLst>
        </pc:spChg>
        <pc:spChg chg="mod">
          <ac:chgData name="Rebecca Hammer" userId="d0d35612-6d50-41f6-a7cb-ec692616c1d1" providerId="ADAL" clId="{D2C28B6D-B0D6-44E2-AB2F-07AEB9B7E4ED}" dt="2025-05-28T09:47:05.176" v="963" actId="207"/>
          <ac:spMkLst>
            <pc:docMk/>
            <pc:sldMk cId="3899143237" sldId="2147482130"/>
            <ac:spMk id="100" creationId="{2B0FE038-DE6E-2909-693E-B1298BC67515}"/>
          </ac:spMkLst>
        </pc:spChg>
        <pc:spChg chg="mod">
          <ac:chgData name="Rebecca Hammer" userId="d0d35612-6d50-41f6-a7cb-ec692616c1d1" providerId="ADAL" clId="{D2C28B6D-B0D6-44E2-AB2F-07AEB9B7E4ED}" dt="2025-05-28T09:46:39.638" v="961" actId="207"/>
          <ac:spMkLst>
            <pc:docMk/>
            <pc:sldMk cId="3899143237" sldId="2147482130"/>
            <ac:spMk id="101" creationId="{D3BE4EED-7FB9-4F24-641D-141A4B3DC9B8}"/>
          </ac:spMkLst>
        </pc:spChg>
        <pc:spChg chg="mod">
          <ac:chgData name="Rebecca Hammer" userId="d0d35612-6d50-41f6-a7cb-ec692616c1d1" providerId="ADAL" clId="{D2C28B6D-B0D6-44E2-AB2F-07AEB9B7E4ED}" dt="2025-05-28T09:47:05.176" v="963" actId="207"/>
          <ac:spMkLst>
            <pc:docMk/>
            <pc:sldMk cId="3899143237" sldId="2147482130"/>
            <ac:spMk id="103" creationId="{35851A7A-576D-1A04-1905-0D4969F4FAED}"/>
          </ac:spMkLst>
        </pc:spChg>
        <pc:spChg chg="mod">
          <ac:chgData name="Rebecca Hammer" userId="d0d35612-6d50-41f6-a7cb-ec692616c1d1" providerId="ADAL" clId="{D2C28B6D-B0D6-44E2-AB2F-07AEB9B7E4ED}" dt="2025-05-28T09:46:39.638" v="961" actId="207"/>
          <ac:spMkLst>
            <pc:docMk/>
            <pc:sldMk cId="3899143237" sldId="2147482130"/>
            <ac:spMk id="104" creationId="{B900CAFC-2C45-079B-5D0F-533261274B98}"/>
          </ac:spMkLst>
        </pc:spChg>
        <pc:spChg chg="mod">
          <ac:chgData name="Rebecca Hammer" userId="d0d35612-6d50-41f6-a7cb-ec692616c1d1" providerId="ADAL" clId="{D2C28B6D-B0D6-44E2-AB2F-07AEB9B7E4ED}" dt="2025-05-28T09:47:05.176" v="963" actId="207"/>
          <ac:spMkLst>
            <pc:docMk/>
            <pc:sldMk cId="3899143237" sldId="2147482130"/>
            <ac:spMk id="106" creationId="{5F046026-FBEB-0992-7787-37B28ED18632}"/>
          </ac:spMkLst>
        </pc:spChg>
        <pc:spChg chg="mod">
          <ac:chgData name="Rebecca Hammer" userId="d0d35612-6d50-41f6-a7cb-ec692616c1d1" providerId="ADAL" clId="{D2C28B6D-B0D6-44E2-AB2F-07AEB9B7E4ED}" dt="2025-05-28T09:46:39.638" v="961" actId="207"/>
          <ac:spMkLst>
            <pc:docMk/>
            <pc:sldMk cId="3899143237" sldId="2147482130"/>
            <ac:spMk id="107" creationId="{B249845A-CF40-0DA6-7831-8954E346E98D}"/>
          </ac:spMkLst>
        </pc:spChg>
        <pc:spChg chg="mod">
          <ac:chgData name="Rebecca Hammer" userId="d0d35612-6d50-41f6-a7cb-ec692616c1d1" providerId="ADAL" clId="{D2C28B6D-B0D6-44E2-AB2F-07AEB9B7E4ED}" dt="2025-05-28T09:46:39.638" v="961" actId="207"/>
          <ac:spMkLst>
            <pc:docMk/>
            <pc:sldMk cId="3899143237" sldId="2147482130"/>
            <ac:spMk id="109" creationId="{445378CF-E962-E1D2-3A19-16D6A3D9F071}"/>
          </ac:spMkLst>
        </pc:spChg>
        <pc:spChg chg="mod">
          <ac:chgData name="Rebecca Hammer" userId="d0d35612-6d50-41f6-a7cb-ec692616c1d1" providerId="ADAL" clId="{D2C28B6D-B0D6-44E2-AB2F-07AEB9B7E4ED}" dt="2025-05-28T09:47:12.491" v="964" actId="207"/>
          <ac:spMkLst>
            <pc:docMk/>
            <pc:sldMk cId="3899143237" sldId="2147482130"/>
            <ac:spMk id="111" creationId="{E30D3D72-34D9-8020-B264-28A42C3652E8}"/>
          </ac:spMkLst>
        </pc:spChg>
        <pc:spChg chg="mod">
          <ac:chgData name="Rebecca Hammer" userId="d0d35612-6d50-41f6-a7cb-ec692616c1d1" providerId="ADAL" clId="{D2C28B6D-B0D6-44E2-AB2F-07AEB9B7E4ED}" dt="2025-05-28T09:47:12.491" v="964" actId="207"/>
          <ac:spMkLst>
            <pc:docMk/>
            <pc:sldMk cId="3899143237" sldId="2147482130"/>
            <ac:spMk id="112" creationId="{85C80109-2CD8-E9CB-E19A-96B1A303F7B9}"/>
          </ac:spMkLst>
        </pc:spChg>
        <pc:spChg chg="mod">
          <ac:chgData name="Rebecca Hammer" userId="d0d35612-6d50-41f6-a7cb-ec692616c1d1" providerId="ADAL" clId="{D2C28B6D-B0D6-44E2-AB2F-07AEB9B7E4ED}" dt="2025-05-28T09:46:39.638" v="961" actId="207"/>
          <ac:spMkLst>
            <pc:docMk/>
            <pc:sldMk cId="3899143237" sldId="2147482130"/>
            <ac:spMk id="113" creationId="{5425148C-2562-54A3-6AB2-6DE1BD1AB166}"/>
          </ac:spMkLst>
        </pc:spChg>
        <pc:spChg chg="mod">
          <ac:chgData name="Rebecca Hammer" userId="d0d35612-6d50-41f6-a7cb-ec692616c1d1" providerId="ADAL" clId="{D2C28B6D-B0D6-44E2-AB2F-07AEB9B7E4ED}" dt="2025-05-28T09:47:05.176" v="963" actId="207"/>
          <ac:spMkLst>
            <pc:docMk/>
            <pc:sldMk cId="3899143237" sldId="2147482130"/>
            <ac:spMk id="115" creationId="{B98597D5-1DBC-FD96-6C47-05247F580B9D}"/>
          </ac:spMkLst>
        </pc:spChg>
      </pc:sldChg>
      <pc:sldChg chg="addSp delSp modSp new mod delAnim modAnim">
        <pc:chgData name="Rebecca Hammer" userId="d0d35612-6d50-41f6-a7cb-ec692616c1d1" providerId="ADAL" clId="{D2C28B6D-B0D6-44E2-AB2F-07AEB9B7E4ED}" dt="2025-05-28T12:03:00.866" v="2936" actId="20577"/>
        <pc:sldMkLst>
          <pc:docMk/>
          <pc:sldMk cId="2755131321" sldId="2147482131"/>
        </pc:sldMkLst>
        <pc:spChg chg="mod">
          <ac:chgData name="Rebecca Hammer" userId="d0d35612-6d50-41f6-a7cb-ec692616c1d1" providerId="ADAL" clId="{D2C28B6D-B0D6-44E2-AB2F-07AEB9B7E4ED}" dt="2025-05-28T12:03:00.866" v="2936" actId="20577"/>
          <ac:spMkLst>
            <pc:docMk/>
            <pc:sldMk cId="2755131321" sldId="2147482131"/>
            <ac:spMk id="2" creationId="{6E75BE3E-5E24-E7A6-DC6C-379C96124317}"/>
          </ac:spMkLst>
        </pc:spChg>
        <pc:spChg chg="mod">
          <ac:chgData name="Rebecca Hammer" userId="d0d35612-6d50-41f6-a7cb-ec692616c1d1" providerId="ADAL" clId="{D2C28B6D-B0D6-44E2-AB2F-07AEB9B7E4ED}" dt="2025-05-28T12:01:30.706" v="2922" actId="1076"/>
          <ac:spMkLst>
            <pc:docMk/>
            <pc:sldMk cId="2755131321" sldId="2147482131"/>
            <ac:spMk id="3" creationId="{A126292A-BA73-B873-FC03-B419E3E7E643}"/>
          </ac:spMkLst>
        </pc:spChg>
        <pc:spChg chg="add mod">
          <ac:chgData name="Rebecca Hammer" userId="d0d35612-6d50-41f6-a7cb-ec692616c1d1" providerId="ADAL" clId="{D2C28B6D-B0D6-44E2-AB2F-07AEB9B7E4ED}" dt="2025-05-27T15:58:11.752" v="543" actId="1036"/>
          <ac:spMkLst>
            <pc:docMk/>
            <pc:sldMk cId="2755131321" sldId="2147482131"/>
            <ac:spMk id="6217" creationId="{B54B5BC0-93CF-297F-4F9E-EF437CFC9005}"/>
          </ac:spMkLst>
        </pc:spChg>
        <pc:spChg chg="add mod">
          <ac:chgData name="Rebecca Hammer" userId="d0d35612-6d50-41f6-a7cb-ec692616c1d1" providerId="ADAL" clId="{D2C28B6D-B0D6-44E2-AB2F-07AEB9B7E4ED}" dt="2025-05-27T15:58:11.752" v="543" actId="1036"/>
          <ac:spMkLst>
            <pc:docMk/>
            <pc:sldMk cId="2755131321" sldId="2147482131"/>
            <ac:spMk id="6219" creationId="{296F3F11-6817-F6AC-4B31-F31DEA07A15A}"/>
          </ac:spMkLst>
        </pc:spChg>
        <pc:spChg chg="mod">
          <ac:chgData name="Rebecca Hammer" userId="d0d35612-6d50-41f6-a7cb-ec692616c1d1" providerId="ADAL" clId="{D2C28B6D-B0D6-44E2-AB2F-07AEB9B7E4ED}" dt="2025-05-27T15:58:11.752" v="543" actId="1036"/>
          <ac:spMkLst>
            <pc:docMk/>
            <pc:sldMk cId="2755131321" sldId="2147482131"/>
            <ac:spMk id="6220" creationId="{052269C2-E5E6-88D7-1BF1-051301A18C9E}"/>
          </ac:spMkLst>
        </pc:spChg>
        <pc:spChg chg="add mod">
          <ac:chgData name="Rebecca Hammer" userId="d0d35612-6d50-41f6-a7cb-ec692616c1d1" providerId="ADAL" clId="{D2C28B6D-B0D6-44E2-AB2F-07AEB9B7E4ED}" dt="2025-05-27T15:58:11.752" v="543" actId="1036"/>
          <ac:spMkLst>
            <pc:docMk/>
            <pc:sldMk cId="2755131321" sldId="2147482131"/>
            <ac:spMk id="6221" creationId="{47B290BB-96D2-45A5-42CD-5DBAA7336EE4}"/>
          </ac:spMkLst>
        </pc:spChg>
        <pc:spChg chg="add mod">
          <ac:chgData name="Rebecca Hammer" userId="d0d35612-6d50-41f6-a7cb-ec692616c1d1" providerId="ADAL" clId="{D2C28B6D-B0D6-44E2-AB2F-07AEB9B7E4ED}" dt="2025-05-27T15:58:11.752" v="543" actId="1036"/>
          <ac:spMkLst>
            <pc:docMk/>
            <pc:sldMk cId="2755131321" sldId="2147482131"/>
            <ac:spMk id="6225" creationId="{2AD45695-47E8-EE39-B288-BF1F59692E4E}"/>
          </ac:spMkLst>
        </pc:spChg>
        <pc:spChg chg="add mod">
          <ac:chgData name="Rebecca Hammer" userId="d0d35612-6d50-41f6-a7cb-ec692616c1d1" providerId="ADAL" clId="{D2C28B6D-B0D6-44E2-AB2F-07AEB9B7E4ED}" dt="2025-05-27T15:58:11.752" v="543" actId="1036"/>
          <ac:spMkLst>
            <pc:docMk/>
            <pc:sldMk cId="2755131321" sldId="2147482131"/>
            <ac:spMk id="6226" creationId="{04712793-B134-F136-CBD6-CA8F3D7DA575}"/>
          </ac:spMkLst>
        </pc:spChg>
        <pc:spChg chg="add mod">
          <ac:chgData name="Rebecca Hammer" userId="d0d35612-6d50-41f6-a7cb-ec692616c1d1" providerId="ADAL" clId="{D2C28B6D-B0D6-44E2-AB2F-07AEB9B7E4ED}" dt="2025-05-27T15:58:11.752" v="543" actId="1036"/>
          <ac:spMkLst>
            <pc:docMk/>
            <pc:sldMk cId="2755131321" sldId="2147482131"/>
            <ac:spMk id="6231" creationId="{9A5702B6-5A49-E2F6-741B-C666C5059737}"/>
          </ac:spMkLst>
        </pc:spChg>
        <pc:spChg chg="add mod">
          <ac:chgData name="Rebecca Hammer" userId="d0d35612-6d50-41f6-a7cb-ec692616c1d1" providerId="ADAL" clId="{D2C28B6D-B0D6-44E2-AB2F-07AEB9B7E4ED}" dt="2025-05-27T15:58:11.752" v="543" actId="1036"/>
          <ac:spMkLst>
            <pc:docMk/>
            <pc:sldMk cId="2755131321" sldId="2147482131"/>
            <ac:spMk id="6234" creationId="{D08582BD-78D7-E573-272D-3B43A8A1E925}"/>
          </ac:spMkLst>
        </pc:spChg>
        <pc:spChg chg="add mod">
          <ac:chgData name="Rebecca Hammer" userId="d0d35612-6d50-41f6-a7cb-ec692616c1d1" providerId="ADAL" clId="{D2C28B6D-B0D6-44E2-AB2F-07AEB9B7E4ED}" dt="2025-05-27T15:58:11.752" v="543" actId="1036"/>
          <ac:spMkLst>
            <pc:docMk/>
            <pc:sldMk cId="2755131321" sldId="2147482131"/>
            <ac:spMk id="6236" creationId="{9BB3D8BF-F652-F869-3FC5-CE3FAA3FF17A}"/>
          </ac:spMkLst>
        </pc:spChg>
        <pc:spChg chg="add mod">
          <ac:chgData name="Rebecca Hammer" userId="d0d35612-6d50-41f6-a7cb-ec692616c1d1" providerId="ADAL" clId="{D2C28B6D-B0D6-44E2-AB2F-07AEB9B7E4ED}" dt="2025-05-27T15:58:11.752" v="543" actId="1036"/>
          <ac:spMkLst>
            <pc:docMk/>
            <pc:sldMk cId="2755131321" sldId="2147482131"/>
            <ac:spMk id="6259" creationId="{191C4D6F-6EBC-A4FA-5D0A-E99ED172F533}"/>
          </ac:spMkLst>
        </pc:spChg>
        <pc:spChg chg="mod">
          <ac:chgData name="Rebecca Hammer" userId="d0d35612-6d50-41f6-a7cb-ec692616c1d1" providerId="ADAL" clId="{D2C28B6D-B0D6-44E2-AB2F-07AEB9B7E4ED}" dt="2025-05-27T15:58:02.853" v="523"/>
          <ac:spMkLst>
            <pc:docMk/>
            <pc:sldMk cId="2755131321" sldId="2147482131"/>
            <ac:spMk id="6261" creationId="{F6E6535B-1096-DC33-5C33-D91281C43F5D}"/>
          </ac:spMkLst>
        </pc:spChg>
        <pc:spChg chg="add mod">
          <ac:chgData name="Rebecca Hammer" userId="d0d35612-6d50-41f6-a7cb-ec692616c1d1" providerId="ADAL" clId="{D2C28B6D-B0D6-44E2-AB2F-07AEB9B7E4ED}" dt="2025-05-27T16:00:23.094" v="607" actId="1037"/>
          <ac:spMkLst>
            <pc:docMk/>
            <pc:sldMk cId="2755131321" sldId="2147482131"/>
            <ac:spMk id="6264" creationId="{262A7385-0E1F-104C-7288-A066137FE836}"/>
          </ac:spMkLst>
        </pc:spChg>
      </pc:sldChg>
      <pc:sldChg chg="addSp delSp modSp add mod delAnim modAnim">
        <pc:chgData name="Rebecca Hammer" userId="d0d35612-6d50-41f6-a7cb-ec692616c1d1" providerId="ADAL" clId="{D2C28B6D-B0D6-44E2-AB2F-07AEB9B7E4ED}" dt="2025-05-28T12:03:08.791" v="2938" actId="20577"/>
        <pc:sldMkLst>
          <pc:docMk/>
          <pc:sldMk cId="3336063477" sldId="2147482132"/>
        </pc:sldMkLst>
        <pc:spChg chg="mod">
          <ac:chgData name="Rebecca Hammer" userId="d0d35612-6d50-41f6-a7cb-ec692616c1d1" providerId="ADAL" clId="{D2C28B6D-B0D6-44E2-AB2F-07AEB9B7E4ED}" dt="2025-05-28T12:03:08.791" v="2938" actId="20577"/>
          <ac:spMkLst>
            <pc:docMk/>
            <pc:sldMk cId="3336063477" sldId="2147482132"/>
            <ac:spMk id="2" creationId="{C320483E-1CBB-A9DE-B09B-838611E65031}"/>
          </ac:spMkLst>
        </pc:spChg>
        <pc:spChg chg="add mod">
          <ac:chgData name="Rebecca Hammer" userId="d0d35612-6d50-41f6-a7cb-ec692616c1d1" providerId="ADAL" clId="{D2C28B6D-B0D6-44E2-AB2F-07AEB9B7E4ED}" dt="2025-05-27T15:58:25.919" v="564" actId="1036"/>
          <ac:spMkLst>
            <pc:docMk/>
            <pc:sldMk cId="3336063477" sldId="2147482132"/>
            <ac:spMk id="41" creationId="{C2663B15-E82B-8486-CA4B-C497A0ED8638}"/>
          </ac:spMkLst>
        </pc:spChg>
        <pc:spChg chg="add mod">
          <ac:chgData name="Rebecca Hammer" userId="d0d35612-6d50-41f6-a7cb-ec692616c1d1" providerId="ADAL" clId="{D2C28B6D-B0D6-44E2-AB2F-07AEB9B7E4ED}" dt="2025-05-27T15:58:25.919" v="564" actId="1036"/>
          <ac:spMkLst>
            <pc:docMk/>
            <pc:sldMk cId="3336063477" sldId="2147482132"/>
            <ac:spMk id="44" creationId="{5B43CFA4-6AF9-53F1-21AC-0C9DA13E2580}"/>
          </ac:spMkLst>
        </pc:spChg>
        <pc:spChg chg="add mod">
          <ac:chgData name="Rebecca Hammer" userId="d0d35612-6d50-41f6-a7cb-ec692616c1d1" providerId="ADAL" clId="{D2C28B6D-B0D6-44E2-AB2F-07AEB9B7E4ED}" dt="2025-05-27T15:58:25.919" v="564" actId="1036"/>
          <ac:spMkLst>
            <pc:docMk/>
            <pc:sldMk cId="3336063477" sldId="2147482132"/>
            <ac:spMk id="57" creationId="{81DBC119-5EAB-9DC1-D740-A60D44E771F0}"/>
          </ac:spMkLst>
        </pc:spChg>
        <pc:spChg chg="add mod">
          <ac:chgData name="Rebecca Hammer" userId="d0d35612-6d50-41f6-a7cb-ec692616c1d1" providerId="ADAL" clId="{D2C28B6D-B0D6-44E2-AB2F-07AEB9B7E4ED}" dt="2025-05-27T15:58:25.919" v="564" actId="1036"/>
          <ac:spMkLst>
            <pc:docMk/>
            <pc:sldMk cId="3336063477" sldId="2147482132"/>
            <ac:spMk id="58" creationId="{E4FDBF1A-86C3-F51A-B5C9-C458DC7A8054}"/>
          </ac:spMkLst>
        </pc:spChg>
        <pc:spChg chg="add mod">
          <ac:chgData name="Rebecca Hammer" userId="d0d35612-6d50-41f6-a7cb-ec692616c1d1" providerId="ADAL" clId="{D2C28B6D-B0D6-44E2-AB2F-07AEB9B7E4ED}" dt="2025-05-27T15:58:25.919" v="564" actId="1036"/>
          <ac:spMkLst>
            <pc:docMk/>
            <pc:sldMk cId="3336063477" sldId="2147482132"/>
            <ac:spMk id="59" creationId="{7074528B-B271-C986-D4D4-EA7B607CF9ED}"/>
          </ac:spMkLst>
        </pc:spChg>
        <pc:spChg chg="add mod">
          <ac:chgData name="Rebecca Hammer" userId="d0d35612-6d50-41f6-a7cb-ec692616c1d1" providerId="ADAL" clId="{D2C28B6D-B0D6-44E2-AB2F-07AEB9B7E4ED}" dt="2025-05-27T15:58:25.919" v="564" actId="1036"/>
          <ac:spMkLst>
            <pc:docMk/>
            <pc:sldMk cId="3336063477" sldId="2147482132"/>
            <ac:spMk id="60" creationId="{8BD41909-C1EE-8CB7-C7B6-EB0BA6F849FE}"/>
          </ac:spMkLst>
        </pc:spChg>
        <pc:spChg chg="add mod">
          <ac:chgData name="Rebecca Hammer" userId="d0d35612-6d50-41f6-a7cb-ec692616c1d1" providerId="ADAL" clId="{D2C28B6D-B0D6-44E2-AB2F-07AEB9B7E4ED}" dt="2025-05-27T15:58:25.919" v="564" actId="1036"/>
          <ac:spMkLst>
            <pc:docMk/>
            <pc:sldMk cId="3336063477" sldId="2147482132"/>
            <ac:spMk id="61" creationId="{F5B33B3D-7E68-BCE1-14CF-0BCD0402D870}"/>
          </ac:spMkLst>
        </pc:spChg>
        <pc:spChg chg="add mod">
          <ac:chgData name="Rebecca Hammer" userId="d0d35612-6d50-41f6-a7cb-ec692616c1d1" providerId="ADAL" clId="{D2C28B6D-B0D6-44E2-AB2F-07AEB9B7E4ED}" dt="2025-05-27T15:58:25.919" v="564" actId="1036"/>
          <ac:spMkLst>
            <pc:docMk/>
            <pc:sldMk cId="3336063477" sldId="2147482132"/>
            <ac:spMk id="6144" creationId="{3C7C15B9-E27E-ABF1-45FB-2DDA8A91C72B}"/>
          </ac:spMkLst>
        </pc:spChg>
        <pc:spChg chg="add mod">
          <ac:chgData name="Rebecca Hammer" userId="d0d35612-6d50-41f6-a7cb-ec692616c1d1" providerId="ADAL" clId="{D2C28B6D-B0D6-44E2-AB2F-07AEB9B7E4ED}" dt="2025-05-27T15:58:25.919" v="564" actId="1036"/>
          <ac:spMkLst>
            <pc:docMk/>
            <pc:sldMk cId="3336063477" sldId="2147482132"/>
            <ac:spMk id="6145" creationId="{807EB2E7-4134-398C-FCA9-F8BA5E6347C5}"/>
          </ac:spMkLst>
        </pc:spChg>
        <pc:spChg chg="add mod">
          <ac:chgData name="Rebecca Hammer" userId="d0d35612-6d50-41f6-a7cb-ec692616c1d1" providerId="ADAL" clId="{D2C28B6D-B0D6-44E2-AB2F-07AEB9B7E4ED}" dt="2025-05-27T15:58:25.919" v="564" actId="1036"/>
          <ac:spMkLst>
            <pc:docMk/>
            <pc:sldMk cId="3336063477" sldId="2147482132"/>
            <ac:spMk id="6218" creationId="{17C9B543-0B73-93A4-3785-8C6654C0737D}"/>
          </ac:spMkLst>
        </pc:spChg>
        <pc:spChg chg="add mod">
          <ac:chgData name="Rebecca Hammer" userId="d0d35612-6d50-41f6-a7cb-ec692616c1d1" providerId="ADAL" clId="{D2C28B6D-B0D6-44E2-AB2F-07AEB9B7E4ED}" dt="2025-05-27T16:00:25.777" v="608"/>
          <ac:spMkLst>
            <pc:docMk/>
            <pc:sldMk cId="3336063477" sldId="2147482132"/>
            <ac:spMk id="6220" creationId="{6FDD519C-6CD5-BA05-82E2-0AED7B38632B}"/>
          </ac:spMkLst>
        </pc:spChg>
        <pc:spChg chg="add mod">
          <ac:chgData name="Rebecca Hammer" userId="d0d35612-6d50-41f6-a7cb-ec692616c1d1" providerId="ADAL" clId="{D2C28B6D-B0D6-44E2-AB2F-07AEB9B7E4ED}" dt="2025-05-28T12:02:39.435" v="2928" actId="27636"/>
          <ac:spMkLst>
            <pc:docMk/>
            <pc:sldMk cId="3336063477" sldId="2147482132"/>
            <ac:spMk id="6222" creationId="{E52ABB61-2062-E576-B963-3FDEFDA70CA1}"/>
          </ac:spMkLst>
        </pc:spChg>
      </pc:sldChg>
      <pc:sldChg chg="addSp delSp modSp add mod modAnim">
        <pc:chgData name="Rebecca Hammer" userId="d0d35612-6d50-41f6-a7cb-ec692616c1d1" providerId="ADAL" clId="{D2C28B6D-B0D6-44E2-AB2F-07AEB9B7E4ED}" dt="2025-05-28T12:03:17.769" v="2940" actId="20577"/>
        <pc:sldMkLst>
          <pc:docMk/>
          <pc:sldMk cId="2646513560" sldId="2147482133"/>
        </pc:sldMkLst>
        <pc:spChg chg="mod">
          <ac:chgData name="Rebecca Hammer" userId="d0d35612-6d50-41f6-a7cb-ec692616c1d1" providerId="ADAL" clId="{D2C28B6D-B0D6-44E2-AB2F-07AEB9B7E4ED}" dt="2025-05-28T12:03:17.769" v="2940" actId="20577"/>
          <ac:spMkLst>
            <pc:docMk/>
            <pc:sldMk cId="2646513560" sldId="2147482133"/>
            <ac:spMk id="2" creationId="{20EFB651-2D2A-E642-D024-F2F361600EA0}"/>
          </ac:spMkLst>
        </pc:spChg>
        <pc:spChg chg="add mod">
          <ac:chgData name="Rebecca Hammer" userId="d0d35612-6d50-41f6-a7cb-ec692616c1d1" providerId="ADAL" clId="{D2C28B6D-B0D6-44E2-AB2F-07AEB9B7E4ED}" dt="2025-05-27T15:59:08.198" v="587" actId="1036"/>
          <ac:spMkLst>
            <pc:docMk/>
            <pc:sldMk cId="2646513560" sldId="2147482133"/>
            <ac:spMk id="4" creationId="{63F36E2A-DA73-0967-297B-D78BBBFBD403}"/>
          </ac:spMkLst>
        </pc:spChg>
        <pc:spChg chg="add mod">
          <ac:chgData name="Rebecca Hammer" userId="d0d35612-6d50-41f6-a7cb-ec692616c1d1" providerId="ADAL" clId="{D2C28B6D-B0D6-44E2-AB2F-07AEB9B7E4ED}" dt="2025-05-27T15:59:08.198" v="587" actId="1036"/>
          <ac:spMkLst>
            <pc:docMk/>
            <pc:sldMk cId="2646513560" sldId="2147482133"/>
            <ac:spMk id="5" creationId="{82D7BA38-9216-1202-DA8E-AB608F3C9F2C}"/>
          </ac:spMkLst>
        </pc:spChg>
        <pc:spChg chg="add mod">
          <ac:chgData name="Rebecca Hammer" userId="d0d35612-6d50-41f6-a7cb-ec692616c1d1" providerId="ADAL" clId="{D2C28B6D-B0D6-44E2-AB2F-07AEB9B7E4ED}" dt="2025-05-27T15:59:08.198" v="587" actId="1036"/>
          <ac:spMkLst>
            <pc:docMk/>
            <pc:sldMk cId="2646513560" sldId="2147482133"/>
            <ac:spMk id="7" creationId="{4A53D67A-ECE0-E8F5-03E2-D1C49D954DD5}"/>
          </ac:spMkLst>
        </pc:spChg>
        <pc:spChg chg="add mod">
          <ac:chgData name="Rebecca Hammer" userId="d0d35612-6d50-41f6-a7cb-ec692616c1d1" providerId="ADAL" clId="{D2C28B6D-B0D6-44E2-AB2F-07AEB9B7E4ED}" dt="2025-05-27T15:59:08.198" v="587" actId="1036"/>
          <ac:spMkLst>
            <pc:docMk/>
            <pc:sldMk cId="2646513560" sldId="2147482133"/>
            <ac:spMk id="10" creationId="{E9B99799-E542-196D-7C16-A1449199FB97}"/>
          </ac:spMkLst>
        </pc:spChg>
        <pc:spChg chg="add mod">
          <ac:chgData name="Rebecca Hammer" userId="d0d35612-6d50-41f6-a7cb-ec692616c1d1" providerId="ADAL" clId="{D2C28B6D-B0D6-44E2-AB2F-07AEB9B7E4ED}" dt="2025-05-27T15:59:08.198" v="587" actId="1036"/>
          <ac:spMkLst>
            <pc:docMk/>
            <pc:sldMk cId="2646513560" sldId="2147482133"/>
            <ac:spMk id="11" creationId="{ED75132B-CE1A-67EB-9A0B-1B8197BF64D2}"/>
          </ac:spMkLst>
        </pc:spChg>
        <pc:spChg chg="add mod">
          <ac:chgData name="Rebecca Hammer" userId="d0d35612-6d50-41f6-a7cb-ec692616c1d1" providerId="ADAL" clId="{D2C28B6D-B0D6-44E2-AB2F-07AEB9B7E4ED}" dt="2025-05-27T15:59:08.198" v="587" actId="1036"/>
          <ac:spMkLst>
            <pc:docMk/>
            <pc:sldMk cId="2646513560" sldId="2147482133"/>
            <ac:spMk id="18" creationId="{AD1F5126-DAAC-E26E-3B45-058A65AD041A}"/>
          </ac:spMkLst>
        </pc:spChg>
        <pc:spChg chg="add mod">
          <ac:chgData name="Rebecca Hammer" userId="d0d35612-6d50-41f6-a7cb-ec692616c1d1" providerId="ADAL" clId="{D2C28B6D-B0D6-44E2-AB2F-07AEB9B7E4ED}" dt="2025-05-27T15:59:08.198" v="587" actId="1036"/>
          <ac:spMkLst>
            <pc:docMk/>
            <pc:sldMk cId="2646513560" sldId="2147482133"/>
            <ac:spMk id="19" creationId="{605D2981-69B9-A716-80AC-047219F7A644}"/>
          </ac:spMkLst>
        </pc:spChg>
        <pc:spChg chg="add mod">
          <ac:chgData name="Rebecca Hammer" userId="d0d35612-6d50-41f6-a7cb-ec692616c1d1" providerId="ADAL" clId="{D2C28B6D-B0D6-44E2-AB2F-07AEB9B7E4ED}" dt="2025-05-27T15:59:08.198" v="587" actId="1036"/>
          <ac:spMkLst>
            <pc:docMk/>
            <pc:sldMk cId="2646513560" sldId="2147482133"/>
            <ac:spMk id="20" creationId="{EBA1FBE4-4AA9-046D-DF5E-5330942E9076}"/>
          </ac:spMkLst>
        </pc:spChg>
        <pc:spChg chg="add mod">
          <ac:chgData name="Rebecca Hammer" userId="d0d35612-6d50-41f6-a7cb-ec692616c1d1" providerId="ADAL" clId="{D2C28B6D-B0D6-44E2-AB2F-07AEB9B7E4ED}" dt="2025-05-27T15:59:08.198" v="587" actId="1036"/>
          <ac:spMkLst>
            <pc:docMk/>
            <pc:sldMk cId="2646513560" sldId="2147482133"/>
            <ac:spMk id="22" creationId="{D42FFC4E-6AE6-DE0B-8F3E-80F6B5645753}"/>
          </ac:spMkLst>
        </pc:spChg>
        <pc:spChg chg="add mod">
          <ac:chgData name="Rebecca Hammer" userId="d0d35612-6d50-41f6-a7cb-ec692616c1d1" providerId="ADAL" clId="{D2C28B6D-B0D6-44E2-AB2F-07AEB9B7E4ED}" dt="2025-05-27T15:59:08.198" v="587" actId="1036"/>
          <ac:spMkLst>
            <pc:docMk/>
            <pc:sldMk cId="2646513560" sldId="2147482133"/>
            <ac:spMk id="24" creationId="{E0D558C6-F416-DF8F-127D-C512E998CF12}"/>
          </ac:spMkLst>
        </pc:spChg>
        <pc:spChg chg="add mod">
          <ac:chgData name="Rebecca Hammer" userId="d0d35612-6d50-41f6-a7cb-ec692616c1d1" providerId="ADAL" clId="{D2C28B6D-B0D6-44E2-AB2F-07AEB9B7E4ED}" dt="2025-05-27T16:00:26.918" v="609"/>
          <ac:spMkLst>
            <pc:docMk/>
            <pc:sldMk cId="2646513560" sldId="2147482133"/>
            <ac:spMk id="39" creationId="{14E9717B-7401-B704-A182-1F091B19FA60}"/>
          </ac:spMkLst>
        </pc:spChg>
        <pc:spChg chg="add mod">
          <ac:chgData name="Rebecca Hammer" userId="d0d35612-6d50-41f6-a7cb-ec692616c1d1" providerId="ADAL" clId="{D2C28B6D-B0D6-44E2-AB2F-07AEB9B7E4ED}" dt="2025-05-28T12:02:45.249" v="2930"/>
          <ac:spMkLst>
            <pc:docMk/>
            <pc:sldMk cId="2646513560" sldId="2147482133"/>
            <ac:spMk id="40" creationId="{ACF35602-EE3E-E8CE-6136-D71D73F6BBEF}"/>
          </ac:spMkLst>
        </pc:spChg>
      </pc:sldChg>
      <pc:sldChg chg="addSp delSp modSp add mod">
        <pc:chgData name="Rebecca Hammer" userId="d0d35612-6d50-41f6-a7cb-ec692616c1d1" providerId="ADAL" clId="{D2C28B6D-B0D6-44E2-AB2F-07AEB9B7E4ED}" dt="2025-05-28T12:03:25.802" v="2943" actId="1076"/>
        <pc:sldMkLst>
          <pc:docMk/>
          <pc:sldMk cId="1954356399" sldId="2147482134"/>
        </pc:sldMkLst>
        <pc:spChg chg="mod">
          <ac:chgData name="Rebecca Hammer" userId="d0d35612-6d50-41f6-a7cb-ec692616c1d1" providerId="ADAL" clId="{D2C28B6D-B0D6-44E2-AB2F-07AEB9B7E4ED}" dt="2025-05-28T12:03:21.280" v="2942" actId="20577"/>
          <ac:spMkLst>
            <pc:docMk/>
            <pc:sldMk cId="1954356399" sldId="2147482134"/>
            <ac:spMk id="2" creationId="{B3D3BF09-EEA5-9267-4DD9-F60DB54CD8B0}"/>
          </ac:spMkLst>
        </pc:spChg>
        <pc:spChg chg="add mod">
          <ac:chgData name="Rebecca Hammer" userId="d0d35612-6d50-41f6-a7cb-ec692616c1d1" providerId="ADAL" clId="{D2C28B6D-B0D6-44E2-AB2F-07AEB9B7E4ED}" dt="2025-05-28T12:03:25.802" v="2943" actId="1076"/>
          <ac:spMkLst>
            <pc:docMk/>
            <pc:sldMk cId="1954356399" sldId="2147482134"/>
            <ac:spMk id="39" creationId="{042B977A-BCCD-719E-60F5-F0FD08073667}"/>
          </ac:spMkLst>
        </pc:spChg>
        <pc:spChg chg="mod">
          <ac:chgData name="Rebecca Hammer" userId="d0d35612-6d50-41f6-a7cb-ec692616c1d1" providerId="ADAL" clId="{D2C28B6D-B0D6-44E2-AB2F-07AEB9B7E4ED}" dt="2025-05-28T09:41:25.136" v="956" actId="1036"/>
          <ac:spMkLst>
            <pc:docMk/>
            <pc:sldMk cId="1954356399" sldId="2147482134"/>
            <ac:spMk id="40" creationId="{54A4C992-13D6-B888-F41D-00CBA2BC1008}"/>
          </ac:spMkLst>
        </pc:spChg>
        <pc:spChg chg="add mod">
          <ac:chgData name="Rebecca Hammer" userId="d0d35612-6d50-41f6-a7cb-ec692616c1d1" providerId="ADAL" clId="{D2C28B6D-B0D6-44E2-AB2F-07AEB9B7E4ED}" dt="2025-05-28T09:41:25.136" v="956" actId="1036"/>
          <ac:spMkLst>
            <pc:docMk/>
            <pc:sldMk cId="1954356399" sldId="2147482134"/>
            <ac:spMk id="41" creationId="{7FA226BB-D9E4-704B-E62B-54A9A874CA57}"/>
          </ac:spMkLst>
        </pc:spChg>
        <pc:spChg chg="add mod">
          <ac:chgData name="Rebecca Hammer" userId="d0d35612-6d50-41f6-a7cb-ec692616c1d1" providerId="ADAL" clId="{D2C28B6D-B0D6-44E2-AB2F-07AEB9B7E4ED}" dt="2025-05-28T09:41:25.136" v="956" actId="1036"/>
          <ac:spMkLst>
            <pc:docMk/>
            <pc:sldMk cId="1954356399" sldId="2147482134"/>
            <ac:spMk id="42" creationId="{14F84986-92A5-6C1E-B2A8-E20A91822F01}"/>
          </ac:spMkLst>
        </pc:spChg>
        <pc:spChg chg="mod">
          <ac:chgData name="Rebecca Hammer" userId="d0d35612-6d50-41f6-a7cb-ec692616c1d1" providerId="ADAL" clId="{D2C28B6D-B0D6-44E2-AB2F-07AEB9B7E4ED}" dt="2025-05-28T09:41:25.136" v="956" actId="1036"/>
          <ac:spMkLst>
            <pc:docMk/>
            <pc:sldMk cId="1954356399" sldId="2147482134"/>
            <ac:spMk id="43" creationId="{477B3F52-11D6-1A28-C769-300BCD65D658}"/>
          </ac:spMkLst>
        </pc:spChg>
        <pc:spChg chg="add mod">
          <ac:chgData name="Rebecca Hammer" userId="d0d35612-6d50-41f6-a7cb-ec692616c1d1" providerId="ADAL" clId="{D2C28B6D-B0D6-44E2-AB2F-07AEB9B7E4ED}" dt="2025-05-28T09:41:25.136" v="956" actId="1036"/>
          <ac:spMkLst>
            <pc:docMk/>
            <pc:sldMk cId="1954356399" sldId="2147482134"/>
            <ac:spMk id="44" creationId="{71F66B6D-661F-C9E2-BC50-0A0DFB8B71A0}"/>
          </ac:spMkLst>
        </pc:spChg>
        <pc:spChg chg="mod">
          <ac:chgData name="Rebecca Hammer" userId="d0d35612-6d50-41f6-a7cb-ec692616c1d1" providerId="ADAL" clId="{D2C28B6D-B0D6-44E2-AB2F-07AEB9B7E4ED}" dt="2025-05-27T15:59:45.128" v="590"/>
          <ac:spMkLst>
            <pc:docMk/>
            <pc:sldMk cId="1954356399" sldId="2147482134"/>
            <ac:spMk id="54" creationId="{7F758D00-A58D-4072-0E71-EBDC560094A5}"/>
          </ac:spMkLst>
        </pc:spChg>
        <pc:spChg chg="mod">
          <ac:chgData name="Rebecca Hammer" userId="d0d35612-6d50-41f6-a7cb-ec692616c1d1" providerId="ADAL" clId="{D2C28B6D-B0D6-44E2-AB2F-07AEB9B7E4ED}" dt="2025-05-27T15:59:45.128" v="590"/>
          <ac:spMkLst>
            <pc:docMk/>
            <pc:sldMk cId="1954356399" sldId="2147482134"/>
            <ac:spMk id="56" creationId="{0BC38E6F-FA84-1349-900C-4315C53D1609}"/>
          </ac:spMkLst>
        </pc:spChg>
        <pc:spChg chg="mod">
          <ac:chgData name="Rebecca Hammer" userId="d0d35612-6d50-41f6-a7cb-ec692616c1d1" providerId="ADAL" clId="{D2C28B6D-B0D6-44E2-AB2F-07AEB9B7E4ED}" dt="2025-05-27T15:59:45.128" v="590"/>
          <ac:spMkLst>
            <pc:docMk/>
            <pc:sldMk cId="1954356399" sldId="2147482134"/>
            <ac:spMk id="60" creationId="{AED64529-AEC3-FC9A-D61C-FBC12FF54FB7}"/>
          </ac:spMkLst>
        </pc:spChg>
        <pc:spChg chg="mod">
          <ac:chgData name="Rebecca Hammer" userId="d0d35612-6d50-41f6-a7cb-ec692616c1d1" providerId="ADAL" clId="{D2C28B6D-B0D6-44E2-AB2F-07AEB9B7E4ED}" dt="2025-05-27T15:59:45.128" v="590"/>
          <ac:spMkLst>
            <pc:docMk/>
            <pc:sldMk cId="1954356399" sldId="2147482134"/>
            <ac:spMk id="61" creationId="{EE25DCCA-8D8B-3281-A5F0-C8D74B2F7F6A}"/>
          </ac:spMkLst>
        </pc:spChg>
        <pc:spChg chg="mod">
          <ac:chgData name="Rebecca Hammer" userId="d0d35612-6d50-41f6-a7cb-ec692616c1d1" providerId="ADAL" clId="{D2C28B6D-B0D6-44E2-AB2F-07AEB9B7E4ED}" dt="2025-05-27T15:59:45.128" v="590"/>
          <ac:spMkLst>
            <pc:docMk/>
            <pc:sldMk cId="1954356399" sldId="2147482134"/>
            <ac:spMk id="63" creationId="{547A4966-3EA5-C956-F748-41743658D565}"/>
          </ac:spMkLst>
        </pc:spChg>
        <pc:spChg chg="mod">
          <ac:chgData name="Rebecca Hammer" userId="d0d35612-6d50-41f6-a7cb-ec692616c1d1" providerId="ADAL" clId="{D2C28B6D-B0D6-44E2-AB2F-07AEB9B7E4ED}" dt="2025-05-27T15:59:45.128" v="590"/>
          <ac:spMkLst>
            <pc:docMk/>
            <pc:sldMk cId="1954356399" sldId="2147482134"/>
            <ac:spMk id="6144" creationId="{01538C5B-85D7-435E-1FEE-77F6047020A0}"/>
          </ac:spMkLst>
        </pc:spChg>
        <pc:spChg chg="add mod">
          <ac:chgData name="Rebecca Hammer" userId="d0d35612-6d50-41f6-a7cb-ec692616c1d1" providerId="ADAL" clId="{D2C28B6D-B0D6-44E2-AB2F-07AEB9B7E4ED}" dt="2025-05-27T16:00:27.962" v="610"/>
          <ac:spMkLst>
            <pc:docMk/>
            <pc:sldMk cId="1954356399" sldId="2147482134"/>
            <ac:spMk id="6153" creationId="{ACAB0C34-58D8-D90A-5190-3DDA985CD6D7}"/>
          </ac:spMkLst>
        </pc:spChg>
        <pc:spChg chg="add mod">
          <ac:chgData name="Rebecca Hammer" userId="d0d35612-6d50-41f6-a7cb-ec692616c1d1" providerId="ADAL" clId="{D2C28B6D-B0D6-44E2-AB2F-07AEB9B7E4ED}" dt="2025-05-28T12:02:49.795" v="2932"/>
          <ac:spMkLst>
            <pc:docMk/>
            <pc:sldMk cId="1954356399" sldId="2147482134"/>
            <ac:spMk id="6154" creationId="{D4BA6114-B3AB-ECD2-B161-5B0E0B6063E6}"/>
          </ac:spMkLst>
        </pc:spChg>
        <pc:grpChg chg="mod">
          <ac:chgData name="Rebecca Hammer" userId="d0d35612-6d50-41f6-a7cb-ec692616c1d1" providerId="ADAL" clId="{D2C28B6D-B0D6-44E2-AB2F-07AEB9B7E4ED}" dt="2025-05-28T09:41:25.136" v="956" actId="1036"/>
          <ac:grpSpMkLst>
            <pc:docMk/>
            <pc:sldMk cId="1954356399" sldId="2147482134"/>
            <ac:grpSpMk id="45" creationId="{FD5E86B7-6430-F1D7-528B-47F42546E86C}"/>
          </ac:grpSpMkLst>
        </pc:grpChg>
        <pc:picChg chg="mod">
          <ac:chgData name="Rebecca Hammer" userId="d0d35612-6d50-41f6-a7cb-ec692616c1d1" providerId="ADAL" clId="{D2C28B6D-B0D6-44E2-AB2F-07AEB9B7E4ED}" dt="2025-05-28T09:41:25.136" v="956" actId="1036"/>
          <ac:picMkLst>
            <pc:docMk/>
            <pc:sldMk cId="1954356399" sldId="2147482134"/>
            <ac:picMk id="6152" creationId="{4BB5DD72-374E-44FC-5A2A-70FF3A9A06D3}"/>
          </ac:picMkLst>
        </pc:picChg>
      </pc:sldChg>
      <pc:sldChg chg="addSp delSp modSp new del mod modShow">
        <pc:chgData name="Rebecca Hammer" userId="d0d35612-6d50-41f6-a7cb-ec692616c1d1" providerId="ADAL" clId="{D2C28B6D-B0D6-44E2-AB2F-07AEB9B7E4ED}" dt="2025-05-27T16:44:22.112" v="742" actId="47"/>
        <pc:sldMkLst>
          <pc:docMk/>
          <pc:sldMk cId="2713592232" sldId="2147482135"/>
        </pc:sldMkLst>
      </pc:sldChg>
      <pc:sldChg chg="addSp delSp modSp add del mod modShow">
        <pc:chgData name="Rebecca Hammer" userId="d0d35612-6d50-41f6-a7cb-ec692616c1d1" providerId="ADAL" clId="{D2C28B6D-B0D6-44E2-AB2F-07AEB9B7E4ED}" dt="2025-05-27T16:44:22.112" v="742" actId="47"/>
        <pc:sldMkLst>
          <pc:docMk/>
          <pc:sldMk cId="377119218" sldId="2147482136"/>
        </pc:sldMkLst>
      </pc:sldChg>
      <pc:sldChg chg="add del">
        <pc:chgData name="Rebecca Hammer" userId="d0d35612-6d50-41f6-a7cb-ec692616c1d1" providerId="ADAL" clId="{D2C28B6D-B0D6-44E2-AB2F-07AEB9B7E4ED}" dt="2025-05-27T16:01:24.314" v="627"/>
        <pc:sldMkLst>
          <pc:docMk/>
          <pc:sldMk cId="1367624941" sldId="2147482136"/>
        </pc:sldMkLst>
      </pc:sldChg>
      <pc:sldChg chg="modSp new del mod modShow">
        <pc:chgData name="Rebecca Hammer" userId="d0d35612-6d50-41f6-a7cb-ec692616c1d1" providerId="ADAL" clId="{D2C28B6D-B0D6-44E2-AB2F-07AEB9B7E4ED}" dt="2025-05-27T16:44:22.112" v="742" actId="47"/>
        <pc:sldMkLst>
          <pc:docMk/>
          <pc:sldMk cId="1738533509" sldId="2147482137"/>
        </pc:sldMkLst>
      </pc:sldChg>
      <pc:sldChg chg="addSp delSp modSp new mod">
        <pc:chgData name="Rebecca Hammer" userId="d0d35612-6d50-41f6-a7cb-ec692616c1d1" providerId="ADAL" clId="{D2C28B6D-B0D6-44E2-AB2F-07AEB9B7E4ED}" dt="2025-05-28T09:40:24.265" v="945"/>
        <pc:sldMkLst>
          <pc:docMk/>
          <pc:sldMk cId="4206706059" sldId="2147482138"/>
        </pc:sldMkLst>
        <pc:spChg chg="mod">
          <ac:chgData name="Rebecca Hammer" userId="d0d35612-6d50-41f6-a7cb-ec692616c1d1" providerId="ADAL" clId="{D2C28B6D-B0D6-44E2-AB2F-07AEB9B7E4ED}" dt="2025-05-27T16:23:31.888" v="692" actId="20577"/>
          <ac:spMkLst>
            <pc:docMk/>
            <pc:sldMk cId="4206706059" sldId="2147482138"/>
            <ac:spMk id="2" creationId="{4D691D60-C708-BC28-A690-6D59336B2A3C}"/>
          </ac:spMkLst>
        </pc:spChg>
        <pc:spChg chg="mod">
          <ac:chgData name="Rebecca Hammer" userId="d0d35612-6d50-41f6-a7cb-ec692616c1d1" providerId="ADAL" clId="{D2C28B6D-B0D6-44E2-AB2F-07AEB9B7E4ED}" dt="2025-05-27T16:23:45.264" v="697" actId="27636"/>
          <ac:spMkLst>
            <pc:docMk/>
            <pc:sldMk cId="4206706059" sldId="2147482138"/>
            <ac:spMk id="3" creationId="{43880420-3C11-F7B6-F1AA-ED6E3FFB29FE}"/>
          </ac:spMkLst>
        </pc:spChg>
        <pc:spChg chg="add mod">
          <ac:chgData name="Rebecca Hammer" userId="d0d35612-6d50-41f6-a7cb-ec692616c1d1" providerId="ADAL" clId="{D2C28B6D-B0D6-44E2-AB2F-07AEB9B7E4ED}" dt="2025-05-27T16:42:05.917" v="729" actId="404"/>
          <ac:spMkLst>
            <pc:docMk/>
            <pc:sldMk cId="4206706059" sldId="2147482138"/>
            <ac:spMk id="12" creationId="{094724AE-F943-F7E5-DC43-7483A02921FC}"/>
          </ac:spMkLst>
        </pc:spChg>
        <pc:spChg chg="add mod">
          <ac:chgData name="Rebecca Hammer" userId="d0d35612-6d50-41f6-a7cb-ec692616c1d1" providerId="ADAL" clId="{D2C28B6D-B0D6-44E2-AB2F-07AEB9B7E4ED}" dt="2025-05-27T16:42:05.917" v="729" actId="404"/>
          <ac:spMkLst>
            <pc:docMk/>
            <pc:sldMk cId="4206706059" sldId="2147482138"/>
            <ac:spMk id="13" creationId="{C0A9F3BA-A9FA-7394-8E09-C30A16C5F0BD}"/>
          </ac:spMkLst>
        </pc:spChg>
        <pc:spChg chg="add mod">
          <ac:chgData name="Rebecca Hammer" userId="d0d35612-6d50-41f6-a7cb-ec692616c1d1" providerId="ADAL" clId="{D2C28B6D-B0D6-44E2-AB2F-07AEB9B7E4ED}" dt="2025-05-27T16:42:05.917" v="729" actId="404"/>
          <ac:spMkLst>
            <pc:docMk/>
            <pc:sldMk cId="4206706059" sldId="2147482138"/>
            <ac:spMk id="17" creationId="{429B8071-9961-5C38-83A4-681585E607B5}"/>
          </ac:spMkLst>
        </pc:spChg>
        <pc:spChg chg="add mod">
          <ac:chgData name="Rebecca Hammer" userId="d0d35612-6d50-41f6-a7cb-ec692616c1d1" providerId="ADAL" clId="{D2C28B6D-B0D6-44E2-AB2F-07AEB9B7E4ED}" dt="2025-05-27T16:42:05.917" v="729" actId="404"/>
          <ac:spMkLst>
            <pc:docMk/>
            <pc:sldMk cId="4206706059" sldId="2147482138"/>
            <ac:spMk id="23" creationId="{3B55467F-DEA9-4323-9599-E03D0DF4A2BA}"/>
          </ac:spMkLst>
        </pc:spChg>
        <pc:spChg chg="add mod">
          <ac:chgData name="Rebecca Hammer" userId="d0d35612-6d50-41f6-a7cb-ec692616c1d1" providerId="ADAL" clId="{D2C28B6D-B0D6-44E2-AB2F-07AEB9B7E4ED}" dt="2025-05-27T16:42:05.917" v="729" actId="404"/>
          <ac:spMkLst>
            <pc:docMk/>
            <pc:sldMk cId="4206706059" sldId="2147482138"/>
            <ac:spMk id="31" creationId="{01812DFA-00FE-682C-F8FF-D9DA264CF7F5}"/>
          </ac:spMkLst>
        </pc:spChg>
        <pc:spChg chg="add mod">
          <ac:chgData name="Rebecca Hammer" userId="d0d35612-6d50-41f6-a7cb-ec692616c1d1" providerId="ADAL" clId="{D2C28B6D-B0D6-44E2-AB2F-07AEB9B7E4ED}" dt="2025-05-27T16:42:05.917" v="729" actId="404"/>
          <ac:spMkLst>
            <pc:docMk/>
            <pc:sldMk cId="4206706059" sldId="2147482138"/>
            <ac:spMk id="33" creationId="{3B341695-9B6D-F952-C8A5-C6EEB05F42BF}"/>
          </ac:spMkLst>
        </pc:spChg>
        <pc:spChg chg="add mod">
          <ac:chgData name="Rebecca Hammer" userId="d0d35612-6d50-41f6-a7cb-ec692616c1d1" providerId="ADAL" clId="{D2C28B6D-B0D6-44E2-AB2F-07AEB9B7E4ED}" dt="2025-05-27T16:42:05.917" v="729" actId="404"/>
          <ac:spMkLst>
            <pc:docMk/>
            <pc:sldMk cId="4206706059" sldId="2147482138"/>
            <ac:spMk id="43" creationId="{6BD03030-44B3-3CF9-A36B-294451A3F097}"/>
          </ac:spMkLst>
        </pc:spChg>
        <pc:spChg chg="add mod">
          <ac:chgData name="Rebecca Hammer" userId="d0d35612-6d50-41f6-a7cb-ec692616c1d1" providerId="ADAL" clId="{D2C28B6D-B0D6-44E2-AB2F-07AEB9B7E4ED}" dt="2025-05-27T16:42:05.917" v="729" actId="404"/>
          <ac:spMkLst>
            <pc:docMk/>
            <pc:sldMk cId="4206706059" sldId="2147482138"/>
            <ac:spMk id="48" creationId="{259D702A-8BA8-BB5A-8910-C4F7217CDEBA}"/>
          </ac:spMkLst>
        </pc:spChg>
        <pc:spChg chg="add mod">
          <ac:chgData name="Rebecca Hammer" userId="d0d35612-6d50-41f6-a7cb-ec692616c1d1" providerId="ADAL" clId="{D2C28B6D-B0D6-44E2-AB2F-07AEB9B7E4ED}" dt="2025-05-27T16:42:05.917" v="729" actId="404"/>
          <ac:spMkLst>
            <pc:docMk/>
            <pc:sldMk cId="4206706059" sldId="2147482138"/>
            <ac:spMk id="49" creationId="{4EAAC396-BB83-B83B-84A0-595D66422B29}"/>
          </ac:spMkLst>
        </pc:spChg>
        <pc:spChg chg="add mod">
          <ac:chgData name="Rebecca Hammer" userId="d0d35612-6d50-41f6-a7cb-ec692616c1d1" providerId="ADAL" clId="{D2C28B6D-B0D6-44E2-AB2F-07AEB9B7E4ED}" dt="2025-05-27T16:42:05.917" v="729" actId="404"/>
          <ac:spMkLst>
            <pc:docMk/>
            <pc:sldMk cId="4206706059" sldId="2147482138"/>
            <ac:spMk id="51" creationId="{0F5796E2-78B3-831B-722F-46F59A8BF54F}"/>
          </ac:spMkLst>
        </pc:spChg>
        <pc:spChg chg="add mod">
          <ac:chgData name="Rebecca Hammer" userId="d0d35612-6d50-41f6-a7cb-ec692616c1d1" providerId="ADAL" clId="{D2C28B6D-B0D6-44E2-AB2F-07AEB9B7E4ED}" dt="2025-05-28T09:40:24.265" v="945"/>
          <ac:spMkLst>
            <pc:docMk/>
            <pc:sldMk cId="4206706059" sldId="2147482138"/>
            <ac:spMk id="78" creationId="{540811D7-276D-6E6B-E877-6EA7D1EE6F1A}"/>
          </ac:spMkLst>
        </pc:spChg>
        <pc:grpChg chg="mod">
          <ac:chgData name="Rebecca Hammer" userId="d0d35612-6d50-41f6-a7cb-ec692616c1d1" providerId="ADAL" clId="{D2C28B6D-B0D6-44E2-AB2F-07AEB9B7E4ED}" dt="2025-05-28T09:39:52.675" v="943" actId="1076"/>
          <ac:grpSpMkLst>
            <pc:docMk/>
            <pc:sldMk cId="4206706059" sldId="2147482138"/>
            <ac:grpSpMk id="52" creationId="{CA1D0FF0-3CAF-03AB-A13D-3F70AC3F8E94}"/>
          </ac:grpSpMkLst>
        </pc:grpChg>
        <pc:picChg chg="add mod">
          <ac:chgData name="Rebecca Hammer" userId="d0d35612-6d50-41f6-a7cb-ec692616c1d1" providerId="ADAL" clId="{D2C28B6D-B0D6-44E2-AB2F-07AEB9B7E4ED}" dt="2025-05-28T09:39:56.650" v="944" actId="1076"/>
          <ac:picMkLst>
            <pc:docMk/>
            <pc:sldMk cId="4206706059" sldId="2147482138"/>
            <ac:picMk id="53" creationId="{4A265663-1DD0-3CBD-085C-52B7EC772E12}"/>
          </ac:picMkLst>
        </pc:picChg>
      </pc:sldChg>
      <pc:sldChg chg="addSp delSp modSp new mod">
        <pc:chgData name="Rebecca Hammer" userId="d0d35612-6d50-41f6-a7cb-ec692616c1d1" providerId="ADAL" clId="{D2C28B6D-B0D6-44E2-AB2F-07AEB9B7E4ED}" dt="2025-05-28T12:19:45.684" v="3057" actId="20577"/>
        <pc:sldMkLst>
          <pc:docMk/>
          <pc:sldMk cId="1848086597" sldId="2147482139"/>
        </pc:sldMkLst>
        <pc:spChg chg="mod">
          <ac:chgData name="Rebecca Hammer" userId="d0d35612-6d50-41f6-a7cb-ec692616c1d1" providerId="ADAL" clId="{D2C28B6D-B0D6-44E2-AB2F-07AEB9B7E4ED}" dt="2025-05-28T12:19:45.684" v="3057" actId="20577"/>
          <ac:spMkLst>
            <pc:docMk/>
            <pc:sldMk cId="1848086597" sldId="2147482139"/>
            <ac:spMk id="2" creationId="{939235C3-4B83-9F69-416D-AD2A35E5482D}"/>
          </ac:spMkLst>
        </pc:spChg>
        <pc:spChg chg="mod">
          <ac:chgData name="Rebecca Hammer" userId="d0d35612-6d50-41f6-a7cb-ec692616c1d1" providerId="ADAL" clId="{D2C28B6D-B0D6-44E2-AB2F-07AEB9B7E4ED}" dt="2025-05-28T12:19:36.614" v="3055"/>
          <ac:spMkLst>
            <pc:docMk/>
            <pc:sldMk cId="1848086597" sldId="2147482139"/>
            <ac:spMk id="3" creationId="{37CDBC28-ABB9-E3B1-50B0-2C03730A8038}"/>
          </ac:spMkLst>
        </pc:spChg>
        <pc:spChg chg="add mod">
          <ac:chgData name="Rebecca Hammer" userId="d0d35612-6d50-41f6-a7cb-ec692616c1d1" providerId="ADAL" clId="{D2C28B6D-B0D6-44E2-AB2F-07AEB9B7E4ED}" dt="2025-05-28T12:19:13.154" v="3052"/>
          <ac:spMkLst>
            <pc:docMk/>
            <pc:sldMk cId="1848086597" sldId="2147482139"/>
            <ac:spMk id="9" creationId="{57822399-699A-5542-22A6-512BD49FA69A}"/>
          </ac:spMkLst>
        </pc:spChg>
        <pc:picChg chg="add mod">
          <ac:chgData name="Rebecca Hammer" userId="d0d35612-6d50-41f6-a7cb-ec692616c1d1" providerId="ADAL" clId="{D2C28B6D-B0D6-44E2-AB2F-07AEB9B7E4ED}" dt="2025-05-28T12:19:18.076" v="3054" actId="1076"/>
          <ac:picMkLst>
            <pc:docMk/>
            <pc:sldMk cId="1848086597" sldId="2147482139"/>
            <ac:picMk id="7" creationId="{AC71FCC0-A1CB-6AAD-63FA-69117923FF18}"/>
          </ac:picMkLst>
        </pc:picChg>
        <pc:picChg chg="add mod">
          <ac:chgData name="Rebecca Hammer" userId="d0d35612-6d50-41f6-a7cb-ec692616c1d1" providerId="ADAL" clId="{D2C28B6D-B0D6-44E2-AB2F-07AEB9B7E4ED}" dt="2025-05-28T12:19:13.154" v="3052"/>
          <ac:picMkLst>
            <pc:docMk/>
            <pc:sldMk cId="1848086597" sldId="2147482139"/>
            <ac:picMk id="8" creationId="{FADEECE9-DBBB-ACCB-9247-231DBB8AA382}"/>
          </ac:picMkLst>
        </pc:picChg>
        <pc:cxnChg chg="add mod">
          <ac:chgData name="Rebecca Hammer" userId="d0d35612-6d50-41f6-a7cb-ec692616c1d1" providerId="ADAL" clId="{D2C28B6D-B0D6-44E2-AB2F-07AEB9B7E4ED}" dt="2025-05-28T12:19:13.154" v="3052"/>
          <ac:cxnSpMkLst>
            <pc:docMk/>
            <pc:sldMk cId="1848086597" sldId="2147482139"/>
            <ac:cxnSpMk id="10" creationId="{6554825A-F12A-A587-FA73-3B5099B23EFB}"/>
          </ac:cxnSpMkLst>
        </pc:cxnChg>
      </pc:sldChg>
      <pc:sldChg chg="addSp delSp modSp add mod">
        <pc:chgData name="Rebecca Hammer" userId="d0d35612-6d50-41f6-a7cb-ec692616c1d1" providerId="ADAL" clId="{D2C28B6D-B0D6-44E2-AB2F-07AEB9B7E4ED}" dt="2025-05-28T12:17:25.669" v="3045" actId="14100"/>
        <pc:sldMkLst>
          <pc:docMk/>
          <pc:sldMk cId="1301278375" sldId="2147482140"/>
        </pc:sldMkLst>
        <pc:spChg chg="mod">
          <ac:chgData name="Rebecca Hammer" userId="d0d35612-6d50-41f6-a7cb-ec692616c1d1" providerId="ADAL" clId="{D2C28B6D-B0D6-44E2-AB2F-07AEB9B7E4ED}" dt="2025-05-28T12:16:41.924" v="2973" actId="20577"/>
          <ac:spMkLst>
            <pc:docMk/>
            <pc:sldMk cId="1301278375" sldId="2147482140"/>
            <ac:spMk id="2" creationId="{4CE4F08E-6557-1505-6BF6-6788CB894A46}"/>
          </ac:spMkLst>
        </pc:spChg>
        <pc:spChg chg="mod">
          <ac:chgData name="Rebecca Hammer" userId="d0d35612-6d50-41f6-a7cb-ec692616c1d1" providerId="ADAL" clId="{D2C28B6D-B0D6-44E2-AB2F-07AEB9B7E4ED}" dt="2025-05-28T12:17:06.066" v="3031" actId="108"/>
          <ac:spMkLst>
            <pc:docMk/>
            <pc:sldMk cId="1301278375" sldId="2147482140"/>
            <ac:spMk id="3" creationId="{5BEACA71-93CA-DF2D-2430-F2675BCB67A0}"/>
          </ac:spMkLst>
        </pc:spChg>
        <pc:spChg chg="add mod">
          <ac:chgData name="Rebecca Hammer" userId="d0d35612-6d50-41f6-a7cb-ec692616c1d1" providerId="ADAL" clId="{D2C28B6D-B0D6-44E2-AB2F-07AEB9B7E4ED}" dt="2025-05-28T12:16:24.672" v="2961" actId="122"/>
          <ac:spMkLst>
            <pc:docMk/>
            <pc:sldMk cId="1301278375" sldId="2147482140"/>
            <ac:spMk id="8" creationId="{9CE5C7A7-4086-E71B-F2C4-71188F5C682B}"/>
          </ac:spMkLst>
        </pc:spChg>
        <pc:picChg chg="add mod">
          <ac:chgData name="Rebecca Hammer" userId="d0d35612-6d50-41f6-a7cb-ec692616c1d1" providerId="ADAL" clId="{D2C28B6D-B0D6-44E2-AB2F-07AEB9B7E4ED}" dt="2025-05-28T12:17:13.119" v="3032" actId="14100"/>
          <ac:picMkLst>
            <pc:docMk/>
            <pc:sldMk cId="1301278375" sldId="2147482140"/>
            <ac:picMk id="6" creationId="{8572B102-2DDB-07A7-EF82-2B62B09E68E7}"/>
          </ac:picMkLst>
        </pc:picChg>
        <pc:picChg chg="add mod">
          <ac:chgData name="Rebecca Hammer" userId="d0d35612-6d50-41f6-a7cb-ec692616c1d1" providerId="ADAL" clId="{D2C28B6D-B0D6-44E2-AB2F-07AEB9B7E4ED}" dt="2025-05-28T12:16:18.866" v="2958" actId="1076"/>
          <ac:picMkLst>
            <pc:docMk/>
            <pc:sldMk cId="1301278375" sldId="2147482140"/>
            <ac:picMk id="11266" creationId="{1510A503-2B51-0A9D-8DDD-B20734FC9BCB}"/>
          </ac:picMkLst>
        </pc:picChg>
        <pc:cxnChg chg="add mod">
          <ac:chgData name="Rebecca Hammer" userId="d0d35612-6d50-41f6-a7cb-ec692616c1d1" providerId="ADAL" clId="{D2C28B6D-B0D6-44E2-AB2F-07AEB9B7E4ED}" dt="2025-05-28T12:17:25.669" v="3045" actId="14100"/>
          <ac:cxnSpMkLst>
            <pc:docMk/>
            <pc:sldMk cId="1301278375" sldId="2147482140"/>
            <ac:cxnSpMk id="10" creationId="{BEA4EE6B-536D-0BD2-5033-B7C90DD0E78B}"/>
          </ac:cxnSpMkLst>
        </pc:cxnChg>
      </pc:sldChg>
      <pc:sldChg chg="addSp delSp modSp add mod">
        <pc:chgData name="Rebecca Hammer" userId="d0d35612-6d50-41f6-a7cb-ec692616c1d1" providerId="ADAL" clId="{D2C28B6D-B0D6-44E2-AB2F-07AEB9B7E4ED}" dt="2025-05-28T12:28:55.261" v="3066" actId="20577"/>
        <pc:sldMkLst>
          <pc:docMk/>
          <pc:sldMk cId="3881729276" sldId="2147482141"/>
        </pc:sldMkLst>
        <pc:spChg chg="mod">
          <ac:chgData name="Rebecca Hammer" userId="d0d35612-6d50-41f6-a7cb-ec692616c1d1" providerId="ADAL" clId="{D2C28B6D-B0D6-44E2-AB2F-07AEB9B7E4ED}" dt="2025-05-28T12:28:55.261" v="3066" actId="20577"/>
          <ac:spMkLst>
            <pc:docMk/>
            <pc:sldMk cId="3881729276" sldId="2147482141"/>
            <ac:spMk id="2" creationId="{BA1FA902-D41B-EF19-7E5E-C58AD243215A}"/>
          </ac:spMkLst>
        </pc:spChg>
        <pc:spChg chg="mod">
          <ac:chgData name="Rebecca Hammer" userId="d0d35612-6d50-41f6-a7cb-ec692616c1d1" providerId="ADAL" clId="{D2C28B6D-B0D6-44E2-AB2F-07AEB9B7E4ED}" dt="2025-05-28T12:28:48.745" v="3064" actId="108"/>
          <ac:spMkLst>
            <pc:docMk/>
            <pc:sldMk cId="3881729276" sldId="2147482141"/>
            <ac:spMk id="3" creationId="{9FDAE57E-977C-2744-5652-531138D7B823}"/>
          </ac:spMkLst>
        </pc:spChg>
        <pc:spChg chg="add mod">
          <ac:chgData name="Rebecca Hammer" userId="d0d35612-6d50-41f6-a7cb-ec692616c1d1" providerId="ADAL" clId="{D2C28B6D-B0D6-44E2-AB2F-07AEB9B7E4ED}" dt="2025-05-28T12:20:11.127" v="3059"/>
          <ac:spMkLst>
            <pc:docMk/>
            <pc:sldMk cId="3881729276" sldId="2147482141"/>
            <ac:spMk id="6" creationId="{9A4A3D27-A5DF-4520-6A65-5BFFA72E319C}"/>
          </ac:spMkLst>
        </pc:spChg>
        <pc:picChg chg="add mod">
          <ac:chgData name="Rebecca Hammer" userId="d0d35612-6d50-41f6-a7cb-ec692616c1d1" providerId="ADAL" clId="{D2C28B6D-B0D6-44E2-AB2F-07AEB9B7E4ED}" dt="2025-05-28T12:20:11.127" v="3059"/>
          <ac:picMkLst>
            <pc:docMk/>
            <pc:sldMk cId="3881729276" sldId="2147482141"/>
            <ac:picMk id="4" creationId="{1FB29373-832F-1828-F593-A82FA49B343D}"/>
          </ac:picMkLst>
        </pc:picChg>
        <pc:picChg chg="add mod">
          <ac:chgData name="Rebecca Hammer" userId="d0d35612-6d50-41f6-a7cb-ec692616c1d1" providerId="ADAL" clId="{D2C28B6D-B0D6-44E2-AB2F-07AEB9B7E4ED}" dt="2025-05-28T12:28:26.485" v="3062" actId="14100"/>
          <ac:picMkLst>
            <pc:docMk/>
            <pc:sldMk cId="3881729276" sldId="2147482141"/>
            <ac:picMk id="9" creationId="{2ECE59E1-1442-1412-ACA4-CA149667392F}"/>
          </ac:picMkLst>
        </pc:picChg>
        <pc:cxnChg chg="add mod">
          <ac:chgData name="Rebecca Hammer" userId="d0d35612-6d50-41f6-a7cb-ec692616c1d1" providerId="ADAL" clId="{D2C28B6D-B0D6-44E2-AB2F-07AEB9B7E4ED}" dt="2025-05-28T12:20:11.127" v="3059"/>
          <ac:cxnSpMkLst>
            <pc:docMk/>
            <pc:sldMk cId="3881729276" sldId="2147482141"/>
            <ac:cxnSpMk id="7" creationId="{0E5FA1F9-7DF2-CF33-0B55-973C9E8AF338}"/>
          </ac:cxnSpMkLst>
        </pc:cxnChg>
      </pc:sldChg>
      <pc:sldChg chg="addSp delSp modSp new mod modAnim">
        <pc:chgData name="Rebecca Hammer" userId="d0d35612-6d50-41f6-a7cb-ec692616c1d1" providerId="ADAL" clId="{D2C28B6D-B0D6-44E2-AB2F-07AEB9B7E4ED}" dt="2025-05-28T12:51:05.219" v="3346" actId="1036"/>
        <pc:sldMkLst>
          <pc:docMk/>
          <pc:sldMk cId="1157261731" sldId="2147482142"/>
        </pc:sldMkLst>
        <pc:spChg chg="mod">
          <ac:chgData name="Rebecca Hammer" userId="d0d35612-6d50-41f6-a7cb-ec692616c1d1" providerId="ADAL" clId="{D2C28B6D-B0D6-44E2-AB2F-07AEB9B7E4ED}" dt="2025-05-28T12:37:24.344" v="3180" actId="20577"/>
          <ac:spMkLst>
            <pc:docMk/>
            <pc:sldMk cId="1157261731" sldId="2147482142"/>
            <ac:spMk id="3" creationId="{6077058E-F7A1-0DFA-F21A-3AA5B15A197E}"/>
          </ac:spMkLst>
        </pc:spChg>
        <pc:spChg chg="add mod">
          <ac:chgData name="Rebecca Hammer" userId="d0d35612-6d50-41f6-a7cb-ec692616c1d1" providerId="ADAL" clId="{D2C28B6D-B0D6-44E2-AB2F-07AEB9B7E4ED}" dt="2025-05-28T12:44:29.539" v="3308" actId="164"/>
          <ac:spMkLst>
            <pc:docMk/>
            <pc:sldMk cId="1157261731" sldId="2147482142"/>
            <ac:spMk id="6" creationId="{C0115F4F-9DEB-2E02-F40D-E7818A955BD1}"/>
          </ac:spMkLst>
        </pc:spChg>
        <pc:spChg chg="add mod">
          <ac:chgData name="Rebecca Hammer" userId="d0d35612-6d50-41f6-a7cb-ec692616c1d1" providerId="ADAL" clId="{D2C28B6D-B0D6-44E2-AB2F-07AEB9B7E4ED}" dt="2025-05-28T12:51:05.219" v="3346" actId="1036"/>
          <ac:spMkLst>
            <pc:docMk/>
            <pc:sldMk cId="1157261731" sldId="2147482142"/>
            <ac:spMk id="7" creationId="{CA1C0086-C6DC-4C7B-70FF-C97AA0C33998}"/>
          </ac:spMkLst>
        </pc:spChg>
        <pc:spChg chg="add mod">
          <ac:chgData name="Rebecca Hammer" userId="d0d35612-6d50-41f6-a7cb-ec692616c1d1" providerId="ADAL" clId="{D2C28B6D-B0D6-44E2-AB2F-07AEB9B7E4ED}" dt="2025-05-28T12:44:25.602" v="3306" actId="164"/>
          <ac:spMkLst>
            <pc:docMk/>
            <pc:sldMk cId="1157261731" sldId="2147482142"/>
            <ac:spMk id="8" creationId="{B700A752-2948-EE95-6AE1-F2CF5C4E006C}"/>
          </ac:spMkLst>
        </pc:spChg>
        <pc:spChg chg="add mod">
          <ac:chgData name="Rebecca Hammer" userId="d0d35612-6d50-41f6-a7cb-ec692616c1d1" providerId="ADAL" clId="{D2C28B6D-B0D6-44E2-AB2F-07AEB9B7E4ED}" dt="2025-05-28T12:50:11.763" v="3316" actId="1076"/>
          <ac:spMkLst>
            <pc:docMk/>
            <pc:sldMk cId="1157261731" sldId="2147482142"/>
            <ac:spMk id="12" creationId="{2DBABEFD-7DA3-80E4-2590-64E0E4405C2B}"/>
          </ac:spMkLst>
        </pc:spChg>
        <pc:spChg chg="add mod">
          <ac:chgData name="Rebecca Hammer" userId="d0d35612-6d50-41f6-a7cb-ec692616c1d1" providerId="ADAL" clId="{D2C28B6D-B0D6-44E2-AB2F-07AEB9B7E4ED}" dt="2025-05-28T12:50:16.750" v="3317" actId="14100"/>
          <ac:spMkLst>
            <pc:docMk/>
            <pc:sldMk cId="1157261731" sldId="2147482142"/>
            <ac:spMk id="13" creationId="{A6EDF3CC-59AC-1EEB-CBC0-F6CA874CC496}"/>
          </ac:spMkLst>
        </pc:spChg>
        <pc:spChg chg="add mod">
          <ac:chgData name="Rebecca Hammer" userId="d0d35612-6d50-41f6-a7cb-ec692616c1d1" providerId="ADAL" clId="{D2C28B6D-B0D6-44E2-AB2F-07AEB9B7E4ED}" dt="2025-05-28T12:50:20.830" v="3318" actId="1076"/>
          <ac:spMkLst>
            <pc:docMk/>
            <pc:sldMk cId="1157261731" sldId="2147482142"/>
            <ac:spMk id="14" creationId="{BECD76D9-C006-3412-3500-EE344866525F}"/>
          </ac:spMkLst>
        </pc:spChg>
        <pc:grpChg chg="add mod">
          <ac:chgData name="Rebecca Hammer" userId="d0d35612-6d50-41f6-a7cb-ec692616c1d1" providerId="ADAL" clId="{D2C28B6D-B0D6-44E2-AB2F-07AEB9B7E4ED}" dt="2025-05-28T12:50:30.382" v="3328" actId="1038"/>
          <ac:grpSpMkLst>
            <pc:docMk/>
            <pc:sldMk cId="1157261731" sldId="2147482142"/>
            <ac:grpSpMk id="15" creationId="{B0C231D1-9881-19B6-78EE-33480C7124D4}"/>
          </ac:grpSpMkLst>
        </pc:grpChg>
        <pc:grpChg chg="add mod">
          <ac:chgData name="Rebecca Hammer" userId="d0d35612-6d50-41f6-a7cb-ec692616c1d1" providerId="ADAL" clId="{D2C28B6D-B0D6-44E2-AB2F-07AEB9B7E4ED}" dt="2025-05-28T12:50:30.382" v="3328" actId="1038"/>
          <ac:grpSpMkLst>
            <pc:docMk/>
            <pc:sldMk cId="1157261731" sldId="2147482142"/>
            <ac:grpSpMk id="16" creationId="{F4B56EE1-66BA-2265-A167-11B18B2C4EEA}"/>
          </ac:grpSpMkLst>
        </pc:grpChg>
        <pc:grpChg chg="add mod">
          <ac:chgData name="Rebecca Hammer" userId="d0d35612-6d50-41f6-a7cb-ec692616c1d1" providerId="ADAL" clId="{D2C28B6D-B0D6-44E2-AB2F-07AEB9B7E4ED}" dt="2025-05-28T12:50:37.299" v="3343" actId="1037"/>
          <ac:grpSpMkLst>
            <pc:docMk/>
            <pc:sldMk cId="1157261731" sldId="2147482142"/>
            <ac:grpSpMk id="17" creationId="{7BD68E5D-B859-4DDE-2314-DBE0E04563F4}"/>
          </ac:grpSpMkLst>
        </pc:grpChg>
        <pc:picChg chg="add mod">
          <ac:chgData name="Rebecca Hammer" userId="d0d35612-6d50-41f6-a7cb-ec692616c1d1" providerId="ADAL" clId="{D2C28B6D-B0D6-44E2-AB2F-07AEB9B7E4ED}" dt="2025-05-28T12:43:55.218" v="3267" actId="14100"/>
          <ac:picMkLst>
            <pc:docMk/>
            <pc:sldMk cId="1157261731" sldId="2147482142"/>
            <ac:picMk id="13314" creationId="{F0F412D6-9637-64A5-CE46-2A78974044BE}"/>
          </ac:picMkLst>
        </pc:picChg>
        <pc:cxnChg chg="add mod">
          <ac:chgData name="Rebecca Hammer" userId="d0d35612-6d50-41f6-a7cb-ec692616c1d1" providerId="ADAL" clId="{D2C28B6D-B0D6-44E2-AB2F-07AEB9B7E4ED}" dt="2025-05-28T12:44:29.539" v="3308" actId="164"/>
          <ac:cxnSpMkLst>
            <pc:docMk/>
            <pc:sldMk cId="1157261731" sldId="2147482142"/>
            <ac:cxnSpMk id="9" creationId="{297A1517-8848-98E0-061C-5CB28CB0BF76}"/>
          </ac:cxnSpMkLst>
        </pc:cxnChg>
        <pc:cxnChg chg="add mod">
          <ac:chgData name="Rebecca Hammer" userId="d0d35612-6d50-41f6-a7cb-ec692616c1d1" providerId="ADAL" clId="{D2C28B6D-B0D6-44E2-AB2F-07AEB9B7E4ED}" dt="2025-05-28T12:44:27.672" v="3307" actId="164"/>
          <ac:cxnSpMkLst>
            <pc:docMk/>
            <pc:sldMk cId="1157261731" sldId="2147482142"/>
            <ac:cxnSpMk id="10" creationId="{77A9F23B-FF43-A537-EA35-D5AFD64CEB65}"/>
          </ac:cxnSpMkLst>
        </pc:cxnChg>
        <pc:cxnChg chg="add mod">
          <ac:chgData name="Rebecca Hammer" userId="d0d35612-6d50-41f6-a7cb-ec692616c1d1" providerId="ADAL" clId="{D2C28B6D-B0D6-44E2-AB2F-07AEB9B7E4ED}" dt="2025-05-28T12:44:25.602" v="3306" actId="164"/>
          <ac:cxnSpMkLst>
            <pc:docMk/>
            <pc:sldMk cId="1157261731" sldId="2147482142"/>
            <ac:cxnSpMk id="11" creationId="{E0F948F0-4227-8579-722A-2E9AEF15EACD}"/>
          </ac:cxnSpMkLst>
        </pc:cxnChg>
      </pc:sldChg>
      <pc:sldChg chg="modSp del mod">
        <pc:chgData name="Rebecca Hammer" userId="d0d35612-6d50-41f6-a7cb-ec692616c1d1" providerId="ADAL" clId="{D2C28B6D-B0D6-44E2-AB2F-07AEB9B7E4ED}" dt="2025-05-28T11:42:01.566" v="2574" actId="47"/>
        <pc:sldMkLst>
          <pc:docMk/>
          <pc:sldMk cId="3560137119" sldId="2147482143"/>
        </pc:sldMkLst>
      </pc:sldChg>
      <pc:sldChg chg="addSp delSp modSp new mod">
        <pc:chgData name="Rebecca Hammer" userId="d0d35612-6d50-41f6-a7cb-ec692616c1d1" providerId="ADAL" clId="{D2C28B6D-B0D6-44E2-AB2F-07AEB9B7E4ED}" dt="2025-05-28T10:01:07.154" v="1056" actId="1076"/>
        <pc:sldMkLst>
          <pc:docMk/>
          <pc:sldMk cId="4187188352" sldId="2147482144"/>
        </pc:sldMkLst>
        <pc:spChg chg="mod">
          <ac:chgData name="Rebecca Hammer" userId="d0d35612-6d50-41f6-a7cb-ec692616c1d1" providerId="ADAL" clId="{D2C28B6D-B0D6-44E2-AB2F-07AEB9B7E4ED}" dt="2025-05-28T09:37:48.373" v="938"/>
          <ac:spMkLst>
            <pc:docMk/>
            <pc:sldMk cId="4187188352" sldId="2147482144"/>
            <ac:spMk id="7" creationId="{9DCC3FEE-BE5D-C7A3-04B6-B1A017701AE4}"/>
          </ac:spMkLst>
        </pc:spChg>
        <pc:spChg chg="add mod">
          <ac:chgData name="Rebecca Hammer" userId="d0d35612-6d50-41f6-a7cb-ec692616c1d1" providerId="ADAL" clId="{D2C28B6D-B0D6-44E2-AB2F-07AEB9B7E4ED}" dt="2025-05-28T09:37:48.373" v="938"/>
          <ac:spMkLst>
            <pc:docMk/>
            <pc:sldMk cId="4187188352" sldId="2147482144"/>
            <ac:spMk id="11" creationId="{DC8FCEB9-B034-E1B3-1033-A0A0A4A1BF42}"/>
          </ac:spMkLst>
        </pc:spChg>
        <pc:spChg chg="mod">
          <ac:chgData name="Rebecca Hammer" userId="d0d35612-6d50-41f6-a7cb-ec692616c1d1" providerId="ADAL" clId="{D2C28B6D-B0D6-44E2-AB2F-07AEB9B7E4ED}" dt="2025-05-28T09:37:48.373" v="938"/>
          <ac:spMkLst>
            <pc:docMk/>
            <pc:sldMk cId="4187188352" sldId="2147482144"/>
            <ac:spMk id="13" creationId="{FA6B0D4D-CDF0-A58E-3083-4B4326A297C2}"/>
          </ac:spMkLst>
        </pc:spChg>
        <pc:spChg chg="mod">
          <ac:chgData name="Rebecca Hammer" userId="d0d35612-6d50-41f6-a7cb-ec692616c1d1" providerId="ADAL" clId="{D2C28B6D-B0D6-44E2-AB2F-07AEB9B7E4ED}" dt="2025-05-28T09:37:48.373" v="938"/>
          <ac:spMkLst>
            <pc:docMk/>
            <pc:sldMk cId="4187188352" sldId="2147482144"/>
            <ac:spMk id="14" creationId="{9A267124-296E-FA2B-9390-3967F51B8AD1}"/>
          </ac:spMkLst>
        </pc:spChg>
        <pc:spChg chg="mod">
          <ac:chgData name="Rebecca Hammer" userId="d0d35612-6d50-41f6-a7cb-ec692616c1d1" providerId="ADAL" clId="{D2C28B6D-B0D6-44E2-AB2F-07AEB9B7E4ED}" dt="2025-05-28T09:37:48.373" v="938"/>
          <ac:spMkLst>
            <pc:docMk/>
            <pc:sldMk cId="4187188352" sldId="2147482144"/>
            <ac:spMk id="16" creationId="{3D7ABA91-3ADB-AE45-3D46-0781B4F1BC64}"/>
          </ac:spMkLst>
        </pc:spChg>
        <pc:spChg chg="add mod">
          <ac:chgData name="Rebecca Hammer" userId="d0d35612-6d50-41f6-a7cb-ec692616c1d1" providerId="ADAL" clId="{D2C28B6D-B0D6-44E2-AB2F-07AEB9B7E4ED}" dt="2025-05-28T09:37:48.373" v="938"/>
          <ac:spMkLst>
            <pc:docMk/>
            <pc:sldMk cId="4187188352" sldId="2147482144"/>
            <ac:spMk id="22" creationId="{282BE974-8355-88BC-C3D0-CA26DC8EE8EF}"/>
          </ac:spMkLst>
        </pc:spChg>
        <pc:spChg chg="add mod">
          <ac:chgData name="Rebecca Hammer" userId="d0d35612-6d50-41f6-a7cb-ec692616c1d1" providerId="ADAL" clId="{D2C28B6D-B0D6-44E2-AB2F-07AEB9B7E4ED}" dt="2025-05-28T09:37:48.373" v="938"/>
          <ac:spMkLst>
            <pc:docMk/>
            <pc:sldMk cId="4187188352" sldId="2147482144"/>
            <ac:spMk id="23" creationId="{8876A118-BE90-BA51-2125-066CEC97F1FC}"/>
          </ac:spMkLst>
        </pc:spChg>
        <pc:spChg chg="add mod">
          <ac:chgData name="Rebecca Hammer" userId="d0d35612-6d50-41f6-a7cb-ec692616c1d1" providerId="ADAL" clId="{D2C28B6D-B0D6-44E2-AB2F-07AEB9B7E4ED}" dt="2025-05-28T09:37:48.373" v="938"/>
          <ac:spMkLst>
            <pc:docMk/>
            <pc:sldMk cId="4187188352" sldId="2147482144"/>
            <ac:spMk id="24" creationId="{13D39A5D-E39B-D649-EB99-031DD0C8F823}"/>
          </ac:spMkLst>
        </pc:spChg>
        <pc:spChg chg="add mod">
          <ac:chgData name="Rebecca Hammer" userId="d0d35612-6d50-41f6-a7cb-ec692616c1d1" providerId="ADAL" clId="{D2C28B6D-B0D6-44E2-AB2F-07AEB9B7E4ED}" dt="2025-05-28T09:37:48.373" v="938"/>
          <ac:spMkLst>
            <pc:docMk/>
            <pc:sldMk cId="4187188352" sldId="2147482144"/>
            <ac:spMk id="26" creationId="{20163C4B-CD77-5F5A-15B4-92E7F9C1E760}"/>
          </ac:spMkLst>
        </pc:spChg>
        <pc:picChg chg="add mod">
          <ac:chgData name="Rebecca Hammer" userId="d0d35612-6d50-41f6-a7cb-ec692616c1d1" providerId="ADAL" clId="{D2C28B6D-B0D6-44E2-AB2F-07AEB9B7E4ED}" dt="2025-05-28T10:00:49.502" v="1051" actId="1076"/>
          <ac:picMkLst>
            <pc:docMk/>
            <pc:sldMk cId="4187188352" sldId="2147482144"/>
            <ac:picMk id="37" creationId="{0AAE5DED-1A2F-C4D9-E12C-7179E5237E8F}"/>
          </ac:picMkLst>
        </pc:picChg>
        <pc:picChg chg="mod">
          <ac:chgData name="Rebecca Hammer" userId="d0d35612-6d50-41f6-a7cb-ec692616c1d1" providerId="ADAL" clId="{D2C28B6D-B0D6-44E2-AB2F-07AEB9B7E4ED}" dt="2025-05-28T10:00:50.923" v="1052" actId="1076"/>
          <ac:picMkLst>
            <pc:docMk/>
            <pc:sldMk cId="4187188352" sldId="2147482144"/>
            <ac:picMk id="38" creationId="{42191F14-F4F7-EE46-1EB1-F00A6D59A56C}"/>
          </ac:picMkLst>
        </pc:picChg>
        <pc:picChg chg="add mod">
          <ac:chgData name="Rebecca Hammer" userId="d0d35612-6d50-41f6-a7cb-ec692616c1d1" providerId="ADAL" clId="{D2C28B6D-B0D6-44E2-AB2F-07AEB9B7E4ED}" dt="2025-05-28T09:59:08.988" v="1019"/>
          <ac:picMkLst>
            <pc:docMk/>
            <pc:sldMk cId="4187188352" sldId="2147482144"/>
            <ac:picMk id="39" creationId="{C11BCCB8-12AC-5253-9B64-CFE85AC9F995}"/>
          </ac:picMkLst>
        </pc:picChg>
        <pc:picChg chg="add mod">
          <ac:chgData name="Rebecca Hammer" userId="d0d35612-6d50-41f6-a7cb-ec692616c1d1" providerId="ADAL" clId="{D2C28B6D-B0D6-44E2-AB2F-07AEB9B7E4ED}" dt="2025-05-28T09:59:08.988" v="1019"/>
          <ac:picMkLst>
            <pc:docMk/>
            <pc:sldMk cId="4187188352" sldId="2147482144"/>
            <ac:picMk id="40" creationId="{79392E43-C640-F75B-ABDD-932E9331B961}"/>
          </ac:picMkLst>
        </pc:picChg>
        <pc:picChg chg="add mod">
          <ac:chgData name="Rebecca Hammer" userId="d0d35612-6d50-41f6-a7cb-ec692616c1d1" providerId="ADAL" clId="{D2C28B6D-B0D6-44E2-AB2F-07AEB9B7E4ED}" dt="2025-05-28T09:59:08.988" v="1019"/>
          <ac:picMkLst>
            <pc:docMk/>
            <pc:sldMk cId="4187188352" sldId="2147482144"/>
            <ac:picMk id="42" creationId="{0D3C2C07-B5A0-7FDE-E112-022D18A5E5DC}"/>
          </ac:picMkLst>
        </pc:picChg>
        <pc:picChg chg="add mod">
          <ac:chgData name="Rebecca Hammer" userId="d0d35612-6d50-41f6-a7cb-ec692616c1d1" providerId="ADAL" clId="{D2C28B6D-B0D6-44E2-AB2F-07AEB9B7E4ED}" dt="2025-05-28T10:00:45.359" v="1049" actId="1076"/>
          <ac:picMkLst>
            <pc:docMk/>
            <pc:sldMk cId="4187188352" sldId="2147482144"/>
            <ac:picMk id="45" creationId="{891FC139-D5F3-2F59-CA77-2CB47DB5CA67}"/>
          </ac:picMkLst>
        </pc:picChg>
        <pc:picChg chg="mod">
          <ac:chgData name="Rebecca Hammer" userId="d0d35612-6d50-41f6-a7cb-ec692616c1d1" providerId="ADAL" clId="{D2C28B6D-B0D6-44E2-AB2F-07AEB9B7E4ED}" dt="2025-05-28T10:01:02.699" v="1054" actId="14100"/>
          <ac:picMkLst>
            <pc:docMk/>
            <pc:sldMk cId="4187188352" sldId="2147482144"/>
            <ac:picMk id="46" creationId="{AB3416BE-8AF1-78DF-280A-1BD5F1CDD7EA}"/>
          </ac:picMkLst>
        </pc:picChg>
        <pc:picChg chg="add mod">
          <ac:chgData name="Rebecca Hammer" userId="d0d35612-6d50-41f6-a7cb-ec692616c1d1" providerId="ADAL" clId="{D2C28B6D-B0D6-44E2-AB2F-07AEB9B7E4ED}" dt="2025-05-28T09:59:08.988" v="1019"/>
          <ac:picMkLst>
            <pc:docMk/>
            <pc:sldMk cId="4187188352" sldId="2147482144"/>
            <ac:picMk id="47" creationId="{DC380C63-08DE-5BBA-02B6-98C991A6FFF0}"/>
          </ac:picMkLst>
        </pc:picChg>
        <pc:picChg chg="add mod">
          <ac:chgData name="Rebecca Hammer" userId="d0d35612-6d50-41f6-a7cb-ec692616c1d1" providerId="ADAL" clId="{D2C28B6D-B0D6-44E2-AB2F-07AEB9B7E4ED}" dt="2025-05-28T09:59:08.988" v="1019"/>
          <ac:picMkLst>
            <pc:docMk/>
            <pc:sldMk cId="4187188352" sldId="2147482144"/>
            <ac:picMk id="48" creationId="{15631879-D968-C1B4-D453-564CEF248742}"/>
          </ac:picMkLst>
        </pc:picChg>
        <pc:picChg chg="add mod">
          <ac:chgData name="Rebecca Hammer" userId="d0d35612-6d50-41f6-a7cb-ec692616c1d1" providerId="ADAL" clId="{D2C28B6D-B0D6-44E2-AB2F-07AEB9B7E4ED}" dt="2025-05-28T09:59:16.407" v="1020" actId="1076"/>
          <ac:picMkLst>
            <pc:docMk/>
            <pc:sldMk cId="4187188352" sldId="2147482144"/>
            <ac:picMk id="49" creationId="{81E984D5-0C48-200C-8931-F82B739F7FF3}"/>
          </ac:picMkLst>
        </pc:picChg>
        <pc:picChg chg="mod">
          <ac:chgData name="Rebecca Hammer" userId="d0d35612-6d50-41f6-a7cb-ec692616c1d1" providerId="ADAL" clId="{D2C28B6D-B0D6-44E2-AB2F-07AEB9B7E4ED}" dt="2025-05-28T10:01:05.275" v="1055" actId="1076"/>
          <ac:picMkLst>
            <pc:docMk/>
            <pc:sldMk cId="4187188352" sldId="2147482144"/>
            <ac:picMk id="50" creationId="{D09414FB-9763-7633-EE48-3F736439946C}"/>
          </ac:picMkLst>
        </pc:picChg>
        <pc:picChg chg="mod">
          <ac:chgData name="Rebecca Hammer" userId="d0d35612-6d50-41f6-a7cb-ec692616c1d1" providerId="ADAL" clId="{D2C28B6D-B0D6-44E2-AB2F-07AEB9B7E4ED}" dt="2025-05-28T09:59:58.496" v="1036" actId="14100"/>
          <ac:picMkLst>
            <pc:docMk/>
            <pc:sldMk cId="4187188352" sldId="2147482144"/>
            <ac:picMk id="51" creationId="{B7AA8F6B-D403-A3E0-B1A6-F5308B820371}"/>
          </ac:picMkLst>
        </pc:picChg>
        <pc:picChg chg="add mod">
          <ac:chgData name="Rebecca Hammer" userId="d0d35612-6d50-41f6-a7cb-ec692616c1d1" providerId="ADAL" clId="{D2C28B6D-B0D6-44E2-AB2F-07AEB9B7E4ED}" dt="2025-05-28T10:00:41.978" v="1047" actId="1076"/>
          <ac:picMkLst>
            <pc:docMk/>
            <pc:sldMk cId="4187188352" sldId="2147482144"/>
            <ac:picMk id="52" creationId="{8C4E6A6E-851B-97B0-32A4-105EDAD38AB2}"/>
          </ac:picMkLst>
        </pc:picChg>
        <pc:picChg chg="mod">
          <ac:chgData name="Rebecca Hammer" userId="d0d35612-6d50-41f6-a7cb-ec692616c1d1" providerId="ADAL" clId="{D2C28B6D-B0D6-44E2-AB2F-07AEB9B7E4ED}" dt="2025-05-28T10:01:07.154" v="1056" actId="1076"/>
          <ac:picMkLst>
            <pc:docMk/>
            <pc:sldMk cId="4187188352" sldId="2147482144"/>
            <ac:picMk id="53" creationId="{3713DD98-DBC1-0D88-94CF-4BB3C8ED8467}"/>
          </ac:picMkLst>
        </pc:picChg>
        <pc:picChg chg="mod">
          <ac:chgData name="Rebecca Hammer" userId="d0d35612-6d50-41f6-a7cb-ec692616c1d1" providerId="ADAL" clId="{D2C28B6D-B0D6-44E2-AB2F-07AEB9B7E4ED}" dt="2025-05-28T09:59:24.680" v="1022" actId="1076"/>
          <ac:picMkLst>
            <pc:docMk/>
            <pc:sldMk cId="4187188352" sldId="2147482144"/>
            <ac:picMk id="55" creationId="{D925DB5E-4EB4-A442-272B-300F5635C310}"/>
          </ac:picMkLst>
        </pc:picChg>
        <pc:picChg chg="add mod">
          <ac:chgData name="Rebecca Hammer" userId="d0d35612-6d50-41f6-a7cb-ec692616c1d1" providerId="ADAL" clId="{D2C28B6D-B0D6-44E2-AB2F-07AEB9B7E4ED}" dt="2025-05-28T09:59:49.385" v="1031" actId="1076"/>
          <ac:picMkLst>
            <pc:docMk/>
            <pc:sldMk cId="4187188352" sldId="2147482144"/>
            <ac:picMk id="57" creationId="{4924E68E-462F-85AA-601A-6B163BB9D2DD}"/>
          </ac:picMkLst>
        </pc:picChg>
      </pc:sldChg>
      <pc:sldChg chg="addSp delSp modSp new del mod modTransition modAnim modNotesTx">
        <pc:chgData name="Rebecca Hammer" userId="d0d35612-6d50-41f6-a7cb-ec692616c1d1" providerId="ADAL" clId="{D2C28B6D-B0D6-44E2-AB2F-07AEB9B7E4ED}" dt="2025-05-28T11:55:21.149" v="2679" actId="47"/>
        <pc:sldMkLst>
          <pc:docMk/>
          <pc:sldMk cId="2709458300" sldId="2147482145"/>
        </pc:sldMkLst>
      </pc:sldChg>
      <pc:sldChg chg="addSp modSp add mod modNotesTx">
        <pc:chgData name="Rebecca Hammer" userId="d0d35612-6d50-41f6-a7cb-ec692616c1d1" providerId="ADAL" clId="{D2C28B6D-B0D6-44E2-AB2F-07AEB9B7E4ED}" dt="2025-05-28T12:58:00.966" v="3347" actId="20577"/>
        <pc:sldMkLst>
          <pc:docMk/>
          <pc:sldMk cId="802530819" sldId="2147482146"/>
        </pc:sldMkLst>
        <pc:spChg chg="mod">
          <ac:chgData name="Rebecca Hammer" userId="d0d35612-6d50-41f6-a7cb-ec692616c1d1" providerId="ADAL" clId="{D2C28B6D-B0D6-44E2-AB2F-07AEB9B7E4ED}" dt="2025-05-28T11:59:42.956" v="2827" actId="20577"/>
          <ac:spMkLst>
            <pc:docMk/>
            <pc:sldMk cId="802530819" sldId="2147482146"/>
            <ac:spMk id="2" creationId="{2981A29C-D1FF-E62C-7C50-5EB78E17952D}"/>
          </ac:spMkLst>
        </pc:spChg>
        <pc:spChg chg="mod">
          <ac:chgData name="Rebecca Hammer" userId="d0d35612-6d50-41f6-a7cb-ec692616c1d1" providerId="ADAL" clId="{D2C28B6D-B0D6-44E2-AB2F-07AEB9B7E4ED}" dt="2025-05-28T12:00:37.193" v="2918" actId="108"/>
          <ac:spMkLst>
            <pc:docMk/>
            <pc:sldMk cId="802530819" sldId="2147482146"/>
            <ac:spMk id="3" creationId="{66BBC881-2E9A-8261-6CBF-62F4A20865C5}"/>
          </ac:spMkLst>
        </pc:spChg>
        <pc:spChg chg="add mod ord">
          <ac:chgData name="Rebecca Hammer" userId="d0d35612-6d50-41f6-a7cb-ec692616c1d1" providerId="ADAL" clId="{D2C28B6D-B0D6-44E2-AB2F-07AEB9B7E4ED}" dt="2025-05-28T11:49:51.201" v="2619" actId="14100"/>
          <ac:spMkLst>
            <pc:docMk/>
            <pc:sldMk cId="802530819" sldId="2147482146"/>
            <ac:spMk id="4" creationId="{635C8C1A-CE1C-2A67-63A2-1E469DA50AC7}"/>
          </ac:spMkLst>
        </pc:spChg>
        <pc:spChg chg="mod">
          <ac:chgData name="Rebecca Hammer" userId="d0d35612-6d50-41f6-a7cb-ec692616c1d1" providerId="ADAL" clId="{D2C28B6D-B0D6-44E2-AB2F-07AEB9B7E4ED}" dt="2025-05-28T11:49:43.419" v="2618" actId="1076"/>
          <ac:spMkLst>
            <pc:docMk/>
            <pc:sldMk cId="802530819" sldId="2147482146"/>
            <ac:spMk id="5" creationId="{12753D13-1FF4-647A-3734-D1BDA37761BE}"/>
          </ac:spMkLst>
        </pc:spChg>
        <pc:spChg chg="mod">
          <ac:chgData name="Rebecca Hammer" userId="d0d35612-6d50-41f6-a7cb-ec692616c1d1" providerId="ADAL" clId="{D2C28B6D-B0D6-44E2-AB2F-07AEB9B7E4ED}" dt="2025-05-28T11:50:47.957" v="2629" actId="1076"/>
          <ac:spMkLst>
            <pc:docMk/>
            <pc:sldMk cId="802530819" sldId="2147482146"/>
            <ac:spMk id="6" creationId="{22CEAB90-A695-6142-AA43-6DA36F9F22DD}"/>
          </ac:spMkLst>
        </pc:spChg>
        <pc:spChg chg="mod">
          <ac:chgData name="Rebecca Hammer" userId="d0d35612-6d50-41f6-a7cb-ec692616c1d1" providerId="ADAL" clId="{D2C28B6D-B0D6-44E2-AB2F-07AEB9B7E4ED}" dt="2025-05-28T11:53:56.073" v="2664" actId="1037"/>
          <ac:spMkLst>
            <pc:docMk/>
            <pc:sldMk cId="802530819" sldId="2147482146"/>
            <ac:spMk id="7" creationId="{50EB2728-E027-35E8-EA0E-C32F38D0664E}"/>
          </ac:spMkLst>
        </pc:spChg>
        <pc:spChg chg="add mod ord">
          <ac:chgData name="Rebecca Hammer" userId="d0d35612-6d50-41f6-a7cb-ec692616c1d1" providerId="ADAL" clId="{D2C28B6D-B0D6-44E2-AB2F-07AEB9B7E4ED}" dt="2025-05-28T11:54:16.741" v="2665" actId="14100"/>
          <ac:spMkLst>
            <pc:docMk/>
            <pc:sldMk cId="802530819" sldId="2147482146"/>
            <ac:spMk id="8" creationId="{6DE14149-1C24-B991-779A-BE72FF51BEDA}"/>
          </ac:spMkLst>
        </pc:spChg>
        <pc:spChg chg="add mod ord">
          <ac:chgData name="Rebecca Hammer" userId="d0d35612-6d50-41f6-a7cb-ec692616c1d1" providerId="ADAL" clId="{D2C28B6D-B0D6-44E2-AB2F-07AEB9B7E4ED}" dt="2025-05-28T11:55:47.017" v="2697" actId="1036"/>
          <ac:spMkLst>
            <pc:docMk/>
            <pc:sldMk cId="802530819" sldId="2147482146"/>
            <ac:spMk id="9" creationId="{9E68B2DF-0887-8367-C9CE-A6EA879544B2}"/>
          </ac:spMkLst>
        </pc:spChg>
        <pc:spChg chg="mod">
          <ac:chgData name="Rebecca Hammer" userId="d0d35612-6d50-41f6-a7cb-ec692616c1d1" providerId="ADAL" clId="{D2C28B6D-B0D6-44E2-AB2F-07AEB9B7E4ED}" dt="2025-05-28T11:49:43.419" v="2618" actId="1076"/>
          <ac:spMkLst>
            <pc:docMk/>
            <pc:sldMk cId="802530819" sldId="2147482146"/>
            <ac:spMk id="10" creationId="{37DD5916-2E2F-797E-A26E-E670733188C0}"/>
          </ac:spMkLst>
        </pc:spChg>
        <pc:spChg chg="mod">
          <ac:chgData name="Rebecca Hammer" userId="d0d35612-6d50-41f6-a7cb-ec692616c1d1" providerId="ADAL" clId="{D2C28B6D-B0D6-44E2-AB2F-07AEB9B7E4ED}" dt="2025-05-28T11:50:47.957" v="2629" actId="1076"/>
          <ac:spMkLst>
            <pc:docMk/>
            <pc:sldMk cId="802530819" sldId="2147482146"/>
            <ac:spMk id="11" creationId="{D2C36A9E-C247-E149-EF1D-53AFC45B40D8}"/>
          </ac:spMkLst>
        </pc:spChg>
        <pc:spChg chg="mod">
          <ac:chgData name="Rebecca Hammer" userId="d0d35612-6d50-41f6-a7cb-ec692616c1d1" providerId="ADAL" clId="{D2C28B6D-B0D6-44E2-AB2F-07AEB9B7E4ED}" dt="2025-05-28T11:53:56.073" v="2664" actId="1037"/>
          <ac:spMkLst>
            <pc:docMk/>
            <pc:sldMk cId="802530819" sldId="2147482146"/>
            <ac:spMk id="12" creationId="{2C5440E8-19D9-0028-14B3-77A49D71C839}"/>
          </ac:spMkLst>
        </pc:spChg>
        <pc:spChg chg="mod">
          <ac:chgData name="Rebecca Hammer" userId="d0d35612-6d50-41f6-a7cb-ec692616c1d1" providerId="ADAL" clId="{D2C28B6D-B0D6-44E2-AB2F-07AEB9B7E4ED}" dt="2025-05-28T11:48:40.219" v="2609" actId="1076"/>
          <ac:spMkLst>
            <pc:docMk/>
            <pc:sldMk cId="802530819" sldId="2147482146"/>
            <ac:spMk id="13" creationId="{FE25A5B1-60FD-76B2-7244-9B2F4C12C223}"/>
          </ac:spMkLst>
        </pc:spChg>
        <pc:spChg chg="mod">
          <ac:chgData name="Rebecca Hammer" userId="d0d35612-6d50-41f6-a7cb-ec692616c1d1" providerId="ADAL" clId="{D2C28B6D-B0D6-44E2-AB2F-07AEB9B7E4ED}" dt="2025-05-28T11:51:20.919" v="2635" actId="1076"/>
          <ac:spMkLst>
            <pc:docMk/>
            <pc:sldMk cId="802530819" sldId="2147482146"/>
            <ac:spMk id="14" creationId="{B75AE932-89CA-3FE4-43B1-4914D959E9F7}"/>
          </ac:spMkLst>
        </pc:spChg>
        <pc:spChg chg="mod">
          <ac:chgData name="Rebecca Hammer" userId="d0d35612-6d50-41f6-a7cb-ec692616c1d1" providerId="ADAL" clId="{D2C28B6D-B0D6-44E2-AB2F-07AEB9B7E4ED}" dt="2025-05-28T11:55:47.017" v="2697" actId="1036"/>
          <ac:spMkLst>
            <pc:docMk/>
            <pc:sldMk cId="802530819" sldId="2147482146"/>
            <ac:spMk id="15" creationId="{546A1697-1B97-0257-64B5-305FC6FBBC99}"/>
          </ac:spMkLst>
        </pc:spChg>
        <pc:spChg chg="mod">
          <ac:chgData name="Rebecca Hammer" userId="d0d35612-6d50-41f6-a7cb-ec692616c1d1" providerId="ADAL" clId="{D2C28B6D-B0D6-44E2-AB2F-07AEB9B7E4ED}" dt="2025-05-28T11:49:43.419" v="2618" actId="1076"/>
          <ac:spMkLst>
            <pc:docMk/>
            <pc:sldMk cId="802530819" sldId="2147482146"/>
            <ac:spMk id="16" creationId="{35A21A21-7A7F-D18C-9F77-6E226CBAD1C3}"/>
          </ac:spMkLst>
        </pc:spChg>
        <pc:spChg chg="mod">
          <ac:chgData name="Rebecca Hammer" userId="d0d35612-6d50-41f6-a7cb-ec692616c1d1" providerId="ADAL" clId="{D2C28B6D-B0D6-44E2-AB2F-07AEB9B7E4ED}" dt="2025-05-28T11:57:33.506" v="2700" actId="113"/>
          <ac:spMkLst>
            <pc:docMk/>
            <pc:sldMk cId="802530819" sldId="2147482146"/>
            <ac:spMk id="17" creationId="{CF985D5A-C239-3999-B00D-4F6A86C5F03E}"/>
          </ac:spMkLst>
        </pc:spChg>
        <pc:spChg chg="mod">
          <ac:chgData name="Rebecca Hammer" userId="d0d35612-6d50-41f6-a7cb-ec692616c1d1" providerId="ADAL" clId="{D2C28B6D-B0D6-44E2-AB2F-07AEB9B7E4ED}" dt="2025-05-28T11:49:43.419" v="2618" actId="1076"/>
          <ac:spMkLst>
            <pc:docMk/>
            <pc:sldMk cId="802530819" sldId="2147482146"/>
            <ac:spMk id="18" creationId="{C1B88987-DE1A-4922-A9DE-0B6BE02AAF7D}"/>
          </ac:spMkLst>
        </pc:spChg>
        <pc:spChg chg="mod">
          <ac:chgData name="Rebecca Hammer" userId="d0d35612-6d50-41f6-a7cb-ec692616c1d1" providerId="ADAL" clId="{D2C28B6D-B0D6-44E2-AB2F-07AEB9B7E4ED}" dt="2025-05-28T11:50:47.957" v="2629" actId="1076"/>
          <ac:spMkLst>
            <pc:docMk/>
            <pc:sldMk cId="802530819" sldId="2147482146"/>
            <ac:spMk id="19" creationId="{9C1F87D7-F6A5-A963-3EB9-34249C7D0E52}"/>
          </ac:spMkLst>
        </pc:spChg>
        <pc:spChg chg="mod">
          <ac:chgData name="Rebecca Hammer" userId="d0d35612-6d50-41f6-a7cb-ec692616c1d1" providerId="ADAL" clId="{D2C28B6D-B0D6-44E2-AB2F-07AEB9B7E4ED}" dt="2025-05-28T11:55:47.017" v="2697" actId="1036"/>
          <ac:spMkLst>
            <pc:docMk/>
            <pc:sldMk cId="802530819" sldId="2147482146"/>
            <ac:spMk id="20" creationId="{C14A0993-ACEC-2164-ACF9-C500DF30AB3D}"/>
          </ac:spMkLst>
        </pc:spChg>
        <pc:spChg chg="mod">
          <ac:chgData name="Rebecca Hammer" userId="d0d35612-6d50-41f6-a7cb-ec692616c1d1" providerId="ADAL" clId="{D2C28B6D-B0D6-44E2-AB2F-07AEB9B7E4ED}" dt="2025-05-28T11:57:33.506" v="2700" actId="113"/>
          <ac:spMkLst>
            <pc:docMk/>
            <pc:sldMk cId="802530819" sldId="2147482146"/>
            <ac:spMk id="21" creationId="{6AA64A9D-EEFD-4E5F-C0C2-9A83C32708EB}"/>
          </ac:spMkLst>
        </pc:spChg>
        <pc:spChg chg="mod">
          <ac:chgData name="Rebecca Hammer" userId="d0d35612-6d50-41f6-a7cb-ec692616c1d1" providerId="ADAL" clId="{D2C28B6D-B0D6-44E2-AB2F-07AEB9B7E4ED}" dt="2025-05-28T11:49:43.419" v="2618" actId="1076"/>
          <ac:spMkLst>
            <pc:docMk/>
            <pc:sldMk cId="802530819" sldId="2147482146"/>
            <ac:spMk id="22" creationId="{8C6C1C6C-B234-C503-2227-A30A1BC2DD6D}"/>
          </ac:spMkLst>
        </pc:spChg>
        <pc:spChg chg="mod">
          <ac:chgData name="Rebecca Hammer" userId="d0d35612-6d50-41f6-a7cb-ec692616c1d1" providerId="ADAL" clId="{D2C28B6D-B0D6-44E2-AB2F-07AEB9B7E4ED}" dt="2025-05-28T11:49:43.419" v="2618" actId="1076"/>
          <ac:spMkLst>
            <pc:docMk/>
            <pc:sldMk cId="802530819" sldId="2147482146"/>
            <ac:spMk id="23" creationId="{1AA071B9-C810-E455-38D7-8D8A1F08E9D4}"/>
          </ac:spMkLst>
        </pc:spChg>
        <pc:spChg chg="mod">
          <ac:chgData name="Rebecca Hammer" userId="d0d35612-6d50-41f6-a7cb-ec692616c1d1" providerId="ADAL" clId="{D2C28B6D-B0D6-44E2-AB2F-07AEB9B7E4ED}" dt="2025-05-28T11:49:43.419" v="2618" actId="1076"/>
          <ac:spMkLst>
            <pc:docMk/>
            <pc:sldMk cId="802530819" sldId="2147482146"/>
            <ac:spMk id="24" creationId="{D204F7AD-1E7D-F2CD-FF66-D711D2C43B69}"/>
          </ac:spMkLst>
        </pc:spChg>
        <pc:spChg chg="mod">
          <ac:chgData name="Rebecca Hammer" userId="d0d35612-6d50-41f6-a7cb-ec692616c1d1" providerId="ADAL" clId="{D2C28B6D-B0D6-44E2-AB2F-07AEB9B7E4ED}" dt="2025-05-28T11:55:47.017" v="2697" actId="1036"/>
          <ac:spMkLst>
            <pc:docMk/>
            <pc:sldMk cId="802530819" sldId="2147482146"/>
            <ac:spMk id="25" creationId="{30DAD2F7-DB1D-3B56-6D41-51804F80E059}"/>
          </ac:spMkLst>
        </pc:spChg>
        <pc:spChg chg="mod">
          <ac:chgData name="Rebecca Hammer" userId="d0d35612-6d50-41f6-a7cb-ec692616c1d1" providerId="ADAL" clId="{D2C28B6D-B0D6-44E2-AB2F-07AEB9B7E4ED}" dt="2025-05-28T11:55:47.017" v="2697" actId="1036"/>
          <ac:spMkLst>
            <pc:docMk/>
            <pc:sldMk cId="802530819" sldId="2147482146"/>
            <ac:spMk id="26" creationId="{0878C29D-82A7-F1AA-2D6E-331A4BE68C9F}"/>
          </ac:spMkLst>
        </pc:spChg>
        <pc:spChg chg="add mod">
          <ac:chgData name="Rebecca Hammer" userId="d0d35612-6d50-41f6-a7cb-ec692616c1d1" providerId="ADAL" clId="{D2C28B6D-B0D6-44E2-AB2F-07AEB9B7E4ED}" dt="2025-05-28T11:53:24.853" v="2653" actId="206"/>
          <ac:spMkLst>
            <pc:docMk/>
            <pc:sldMk cId="802530819" sldId="2147482146"/>
            <ac:spMk id="27" creationId="{95B3460A-E61D-5986-0020-EC7AA7ECC5E8}"/>
          </ac:spMkLst>
        </pc:spChg>
        <pc:spChg chg="add mod">
          <ac:chgData name="Rebecca Hammer" userId="d0d35612-6d50-41f6-a7cb-ec692616c1d1" providerId="ADAL" clId="{D2C28B6D-B0D6-44E2-AB2F-07AEB9B7E4ED}" dt="2025-05-28T11:54:58.314" v="2678" actId="206"/>
          <ac:spMkLst>
            <pc:docMk/>
            <pc:sldMk cId="802530819" sldId="2147482146"/>
            <ac:spMk id="28" creationId="{4C892641-A10F-726B-BFF2-3648DED7FE1F}"/>
          </ac:spMkLst>
        </pc:spChg>
        <pc:spChg chg="mod">
          <ac:chgData name="Rebecca Hammer" userId="d0d35612-6d50-41f6-a7cb-ec692616c1d1" providerId="ADAL" clId="{D2C28B6D-B0D6-44E2-AB2F-07AEB9B7E4ED}" dt="2025-05-28T11:57:33.506" v="2700" actId="113"/>
          <ac:spMkLst>
            <pc:docMk/>
            <pc:sldMk cId="802530819" sldId="2147482146"/>
            <ac:spMk id="31" creationId="{C3460E0C-5832-9F99-69F2-1A912F83E3EE}"/>
          </ac:spMkLst>
        </pc:spChg>
        <pc:spChg chg="mod">
          <ac:chgData name="Rebecca Hammer" userId="d0d35612-6d50-41f6-a7cb-ec692616c1d1" providerId="ADAL" clId="{D2C28B6D-B0D6-44E2-AB2F-07AEB9B7E4ED}" dt="2025-05-28T11:50:47.957" v="2629" actId="1076"/>
          <ac:spMkLst>
            <pc:docMk/>
            <pc:sldMk cId="802530819" sldId="2147482146"/>
            <ac:spMk id="38" creationId="{E60AFA89-125C-6F0C-15B1-DD171B87BE81}"/>
          </ac:spMkLst>
        </pc:spChg>
        <pc:spChg chg="mod">
          <ac:chgData name="Rebecca Hammer" userId="d0d35612-6d50-41f6-a7cb-ec692616c1d1" providerId="ADAL" clId="{D2C28B6D-B0D6-44E2-AB2F-07AEB9B7E4ED}" dt="2025-05-28T11:50:47.957" v="2629" actId="1076"/>
          <ac:spMkLst>
            <pc:docMk/>
            <pc:sldMk cId="802530819" sldId="2147482146"/>
            <ac:spMk id="39" creationId="{8AF9CEDA-B58B-5113-7ECF-B99AE0E831A5}"/>
          </ac:spMkLst>
        </pc:spChg>
        <pc:spChg chg="mod">
          <ac:chgData name="Rebecca Hammer" userId="d0d35612-6d50-41f6-a7cb-ec692616c1d1" providerId="ADAL" clId="{D2C28B6D-B0D6-44E2-AB2F-07AEB9B7E4ED}" dt="2025-05-28T11:50:47.957" v="2629" actId="1076"/>
          <ac:spMkLst>
            <pc:docMk/>
            <pc:sldMk cId="802530819" sldId="2147482146"/>
            <ac:spMk id="40" creationId="{3F1E72DB-8723-0C7E-4396-D8543B29953C}"/>
          </ac:spMkLst>
        </pc:spChg>
        <pc:spChg chg="mod">
          <ac:chgData name="Rebecca Hammer" userId="d0d35612-6d50-41f6-a7cb-ec692616c1d1" providerId="ADAL" clId="{D2C28B6D-B0D6-44E2-AB2F-07AEB9B7E4ED}" dt="2025-05-28T11:55:47.017" v="2697" actId="1036"/>
          <ac:spMkLst>
            <pc:docMk/>
            <pc:sldMk cId="802530819" sldId="2147482146"/>
            <ac:spMk id="41" creationId="{A6499235-0597-67B9-92F1-2EE82F2C2BB6}"/>
          </ac:spMkLst>
        </pc:spChg>
        <pc:spChg chg="mod">
          <ac:chgData name="Rebecca Hammer" userId="d0d35612-6d50-41f6-a7cb-ec692616c1d1" providerId="ADAL" clId="{D2C28B6D-B0D6-44E2-AB2F-07AEB9B7E4ED}" dt="2025-05-28T11:55:47.017" v="2697" actId="1036"/>
          <ac:spMkLst>
            <pc:docMk/>
            <pc:sldMk cId="802530819" sldId="2147482146"/>
            <ac:spMk id="42" creationId="{8756F57D-58B8-4BA8-A81F-289A9107CDC0}"/>
          </ac:spMkLst>
        </pc:spChg>
        <pc:spChg chg="mod">
          <ac:chgData name="Rebecca Hammer" userId="d0d35612-6d50-41f6-a7cb-ec692616c1d1" providerId="ADAL" clId="{D2C28B6D-B0D6-44E2-AB2F-07AEB9B7E4ED}" dt="2025-05-28T11:53:56.073" v="2664" actId="1037"/>
          <ac:spMkLst>
            <pc:docMk/>
            <pc:sldMk cId="802530819" sldId="2147482146"/>
            <ac:spMk id="7189" creationId="{E994A445-636D-0E45-BAC4-ED313217D05D}"/>
          </ac:spMkLst>
        </pc:spChg>
        <pc:spChg chg="mod">
          <ac:chgData name="Rebecca Hammer" userId="d0d35612-6d50-41f6-a7cb-ec692616c1d1" providerId="ADAL" clId="{D2C28B6D-B0D6-44E2-AB2F-07AEB9B7E4ED}" dt="2025-05-28T11:53:56.073" v="2664" actId="1037"/>
          <ac:spMkLst>
            <pc:docMk/>
            <pc:sldMk cId="802530819" sldId="2147482146"/>
            <ac:spMk id="7190" creationId="{A3B9FC43-E0C5-E395-7370-59549C05A985}"/>
          </ac:spMkLst>
        </pc:spChg>
        <pc:spChg chg="mod">
          <ac:chgData name="Rebecca Hammer" userId="d0d35612-6d50-41f6-a7cb-ec692616c1d1" providerId="ADAL" clId="{D2C28B6D-B0D6-44E2-AB2F-07AEB9B7E4ED}" dt="2025-05-28T11:55:47.017" v="2697" actId="1036"/>
          <ac:spMkLst>
            <pc:docMk/>
            <pc:sldMk cId="802530819" sldId="2147482146"/>
            <ac:spMk id="7191" creationId="{93C7C205-36E7-D856-9B6A-6D97A3B724F5}"/>
          </ac:spMkLst>
        </pc:spChg>
        <pc:spChg chg="mod">
          <ac:chgData name="Rebecca Hammer" userId="d0d35612-6d50-41f6-a7cb-ec692616c1d1" providerId="ADAL" clId="{D2C28B6D-B0D6-44E2-AB2F-07AEB9B7E4ED}" dt="2025-05-28T11:53:56.073" v="2664" actId="1037"/>
          <ac:spMkLst>
            <pc:docMk/>
            <pc:sldMk cId="802530819" sldId="2147482146"/>
            <ac:spMk id="7192" creationId="{AC69A850-C590-83CC-8B00-97CC823C0681}"/>
          </ac:spMkLst>
        </pc:spChg>
        <pc:spChg chg="mod">
          <ac:chgData name="Rebecca Hammer" userId="d0d35612-6d50-41f6-a7cb-ec692616c1d1" providerId="ADAL" clId="{D2C28B6D-B0D6-44E2-AB2F-07AEB9B7E4ED}" dt="2025-05-28T11:53:56.073" v="2664" actId="1037"/>
          <ac:spMkLst>
            <pc:docMk/>
            <pc:sldMk cId="802530819" sldId="2147482146"/>
            <ac:spMk id="7193" creationId="{78C0E268-EED0-9BE3-CBEB-9A7DDDCDEEA4}"/>
          </ac:spMkLst>
        </pc:spChg>
        <pc:spChg chg="mod">
          <ac:chgData name="Rebecca Hammer" userId="d0d35612-6d50-41f6-a7cb-ec692616c1d1" providerId="ADAL" clId="{D2C28B6D-B0D6-44E2-AB2F-07AEB9B7E4ED}" dt="2025-05-28T11:56:03.808" v="2698" actId="1076"/>
          <ac:spMkLst>
            <pc:docMk/>
            <pc:sldMk cId="802530819" sldId="2147482146"/>
            <ac:spMk id="7202" creationId="{D8B02B7D-75E5-70C9-671E-CF896316D727}"/>
          </ac:spMkLst>
        </pc:spChg>
        <pc:spChg chg="mod">
          <ac:chgData name="Rebecca Hammer" userId="d0d35612-6d50-41f6-a7cb-ec692616c1d1" providerId="ADAL" clId="{D2C28B6D-B0D6-44E2-AB2F-07AEB9B7E4ED}" dt="2025-05-28T11:56:07.188" v="2699" actId="1076"/>
          <ac:spMkLst>
            <pc:docMk/>
            <pc:sldMk cId="802530819" sldId="2147482146"/>
            <ac:spMk id="7205" creationId="{7CCA91DD-1F1E-F813-123C-F6C11DD50B11}"/>
          </ac:spMkLst>
        </pc:spChg>
        <pc:picChg chg="mod">
          <ac:chgData name="Rebecca Hammer" userId="d0d35612-6d50-41f6-a7cb-ec692616c1d1" providerId="ADAL" clId="{D2C28B6D-B0D6-44E2-AB2F-07AEB9B7E4ED}" dt="2025-05-28T11:51:13.857" v="2633" actId="1076"/>
          <ac:picMkLst>
            <pc:docMk/>
            <pc:sldMk cId="802530819" sldId="2147482146"/>
            <ac:picMk id="37" creationId="{AF91EE26-9926-402A-CB4D-7A48B7504F29}"/>
          </ac:picMkLst>
        </pc:picChg>
        <pc:picChg chg="mod">
          <ac:chgData name="Rebecca Hammer" userId="d0d35612-6d50-41f6-a7cb-ec692616c1d1" providerId="ADAL" clId="{D2C28B6D-B0D6-44E2-AB2F-07AEB9B7E4ED}" dt="2025-05-28T11:51:13.857" v="2633" actId="1076"/>
          <ac:picMkLst>
            <pc:docMk/>
            <pc:sldMk cId="802530819" sldId="2147482146"/>
            <ac:picMk id="7170" creationId="{4D9D4423-6DDF-A119-709E-486D91897E0F}"/>
          </ac:picMkLst>
        </pc:picChg>
        <pc:picChg chg="mod">
          <ac:chgData name="Rebecca Hammer" userId="d0d35612-6d50-41f6-a7cb-ec692616c1d1" providerId="ADAL" clId="{D2C28B6D-B0D6-44E2-AB2F-07AEB9B7E4ED}" dt="2025-05-28T11:51:00.597" v="2632" actId="1076"/>
          <ac:picMkLst>
            <pc:docMk/>
            <pc:sldMk cId="802530819" sldId="2147482146"/>
            <ac:picMk id="7200" creationId="{C804123A-225E-E31D-CF22-EB929CFC5A24}"/>
          </ac:picMkLst>
        </pc:picChg>
      </pc:sldChg>
      <pc:sldChg chg="addSp delSp modSp add del mod modShow">
        <pc:chgData name="Rebecca Hammer" userId="d0d35612-6d50-41f6-a7cb-ec692616c1d1" providerId="ADAL" clId="{D2C28B6D-B0D6-44E2-AB2F-07AEB9B7E4ED}" dt="2025-05-27T16:44:22.112" v="742" actId="47"/>
        <pc:sldMkLst>
          <pc:docMk/>
          <pc:sldMk cId="3506310459" sldId="2147483555"/>
        </pc:sldMkLst>
      </pc:sldChg>
      <pc:sldChg chg="addSp modSp add del mod">
        <pc:chgData name="Rebecca Hammer" userId="d0d35612-6d50-41f6-a7cb-ec692616c1d1" providerId="ADAL" clId="{D2C28B6D-B0D6-44E2-AB2F-07AEB9B7E4ED}" dt="2025-05-27T16:41:27.792" v="725" actId="47"/>
        <pc:sldMkLst>
          <pc:docMk/>
          <pc:sldMk cId="669153521" sldId="2147483556"/>
        </pc:sldMkLst>
      </pc:sldChg>
      <pc:sldMasterChg chg="delSp mod delSldLayout modSldLayout">
        <pc:chgData name="Rebecca Hammer" userId="d0d35612-6d50-41f6-a7cb-ec692616c1d1" providerId="ADAL" clId="{D2C28B6D-B0D6-44E2-AB2F-07AEB9B7E4ED}" dt="2025-05-27T17:02:27.511" v="834" actId="47"/>
        <pc:sldMasterMkLst>
          <pc:docMk/>
          <pc:sldMasterMk cId="235908410" sldId="2147483884"/>
        </pc:sldMasterMkLst>
        <pc:sldLayoutChg chg="modSp mod">
          <pc:chgData name="Rebecca Hammer" userId="d0d35612-6d50-41f6-a7cb-ec692616c1d1" providerId="ADAL" clId="{D2C28B6D-B0D6-44E2-AB2F-07AEB9B7E4ED}" dt="2025-05-27T13:19:08.712" v="246" actId="1076"/>
          <pc:sldLayoutMkLst>
            <pc:docMk/>
            <pc:sldMasterMk cId="235908410" sldId="2147483884"/>
            <pc:sldLayoutMk cId="4067682347" sldId="2147484390"/>
          </pc:sldLayoutMkLst>
          <pc:spChg chg="mod">
            <ac:chgData name="Rebecca Hammer" userId="d0d35612-6d50-41f6-a7cb-ec692616c1d1" providerId="ADAL" clId="{D2C28B6D-B0D6-44E2-AB2F-07AEB9B7E4ED}" dt="2025-05-27T13:19:08.712" v="246" actId="1076"/>
            <ac:spMkLst>
              <pc:docMk/>
              <pc:sldMasterMk cId="235908410" sldId="2147483884"/>
              <pc:sldLayoutMk cId="4067682347" sldId="2147484390"/>
              <ac:spMk id="20" creationId="{E18847CF-4482-4363-9381-3889ED480985}"/>
            </ac:spMkLst>
          </pc:spChg>
          <pc:picChg chg="mod">
            <ac:chgData name="Rebecca Hammer" userId="d0d35612-6d50-41f6-a7cb-ec692616c1d1" providerId="ADAL" clId="{D2C28B6D-B0D6-44E2-AB2F-07AEB9B7E4ED}" dt="2025-05-27T13:19:04.873" v="245" actId="1076"/>
            <ac:picMkLst>
              <pc:docMk/>
              <pc:sldMasterMk cId="235908410" sldId="2147483884"/>
              <pc:sldLayoutMk cId="4067682347" sldId="2147484390"/>
              <ac:picMk id="5" creationId="{DA63BBCD-5BAB-53E5-52F0-65AD5839FB01}"/>
            </ac:picMkLst>
          </pc:picChg>
        </pc:sldLayoutChg>
        <pc:sldLayoutChg chg="del">
          <pc:chgData name="Rebecca Hammer" userId="d0d35612-6d50-41f6-a7cb-ec692616c1d1" providerId="ADAL" clId="{D2C28B6D-B0D6-44E2-AB2F-07AEB9B7E4ED}" dt="2025-05-27T17:02:27.511" v="834" actId="47"/>
          <pc:sldLayoutMkLst>
            <pc:docMk/>
            <pc:sldMasterMk cId="235908410" sldId="2147483884"/>
            <pc:sldLayoutMk cId="3963770737" sldId="2147484495"/>
          </pc:sldLayoutMkLst>
        </pc:sldLayoutChg>
        <pc:sldLayoutChg chg="del">
          <pc:chgData name="Rebecca Hammer" userId="d0d35612-6d50-41f6-a7cb-ec692616c1d1" providerId="ADAL" clId="{D2C28B6D-B0D6-44E2-AB2F-07AEB9B7E4ED}" dt="2025-05-27T17:02:27.511" v="834" actId="47"/>
          <pc:sldLayoutMkLst>
            <pc:docMk/>
            <pc:sldMasterMk cId="235908410" sldId="2147483884"/>
            <pc:sldLayoutMk cId="1944813515" sldId="2147484504"/>
          </pc:sldLayoutMkLst>
        </pc:sldLayoutChg>
        <pc:sldLayoutChg chg="del">
          <pc:chgData name="Rebecca Hammer" userId="d0d35612-6d50-41f6-a7cb-ec692616c1d1" providerId="ADAL" clId="{D2C28B6D-B0D6-44E2-AB2F-07AEB9B7E4ED}" dt="2025-05-27T17:02:27.511" v="834" actId="47"/>
          <pc:sldLayoutMkLst>
            <pc:docMk/>
            <pc:sldMasterMk cId="235908410" sldId="2147483884"/>
            <pc:sldLayoutMk cId="1839557413" sldId="2147484505"/>
          </pc:sldLayoutMkLst>
        </pc:sldLayoutChg>
        <pc:sldLayoutChg chg="del">
          <pc:chgData name="Rebecca Hammer" userId="d0d35612-6d50-41f6-a7cb-ec692616c1d1" providerId="ADAL" clId="{D2C28B6D-B0D6-44E2-AB2F-07AEB9B7E4ED}" dt="2025-05-27T17:02:27.511" v="834" actId="47"/>
          <pc:sldLayoutMkLst>
            <pc:docMk/>
            <pc:sldMasterMk cId="235908410" sldId="2147483884"/>
            <pc:sldLayoutMk cId="1983368824" sldId="2147484506"/>
          </pc:sldLayoutMkLst>
        </pc:sldLayoutChg>
      </pc:sldMasterChg>
      <pc:sldMasterChg chg="delSldLayout">
        <pc:chgData name="Rebecca Hammer" userId="d0d35612-6d50-41f6-a7cb-ec692616c1d1" providerId="ADAL" clId="{D2C28B6D-B0D6-44E2-AB2F-07AEB9B7E4ED}" dt="2025-05-27T17:02:27.511" v="834" actId="47"/>
        <pc:sldMasterMkLst>
          <pc:docMk/>
          <pc:sldMasterMk cId="2492851573" sldId="2147484496"/>
        </pc:sldMasterMkLst>
        <pc:sldLayoutChg chg="del">
          <pc:chgData name="Rebecca Hammer" userId="d0d35612-6d50-41f6-a7cb-ec692616c1d1" providerId="ADAL" clId="{D2C28B6D-B0D6-44E2-AB2F-07AEB9B7E4ED}" dt="2025-05-27T17:02:27.511" v="834" actId="47"/>
          <pc:sldLayoutMkLst>
            <pc:docMk/>
            <pc:sldMasterMk cId="2492851573" sldId="2147484496"/>
            <pc:sldLayoutMk cId="1989103789" sldId="2147484507"/>
          </pc:sldLayoutMkLst>
        </pc:sldLayoutChg>
      </pc:sldMasterChg>
      <pc:sldMasterChg chg="delSldLayout">
        <pc:chgData name="Rebecca Hammer" userId="d0d35612-6d50-41f6-a7cb-ec692616c1d1" providerId="ADAL" clId="{D2C28B6D-B0D6-44E2-AB2F-07AEB9B7E4ED}" dt="2025-05-27T16:44:22.112" v="742" actId="47"/>
        <pc:sldMasterMkLst>
          <pc:docMk/>
          <pc:sldMasterMk cId="412293253" sldId="2147484508"/>
        </pc:sldMasterMkLst>
        <pc:sldLayoutChg chg="del">
          <pc:chgData name="Rebecca Hammer" userId="d0d35612-6d50-41f6-a7cb-ec692616c1d1" providerId="ADAL" clId="{D2C28B6D-B0D6-44E2-AB2F-07AEB9B7E4ED}" dt="2025-05-27T16:44:22.112" v="742" actId="47"/>
          <pc:sldLayoutMkLst>
            <pc:docMk/>
            <pc:sldMasterMk cId="412293253" sldId="2147484508"/>
            <pc:sldLayoutMk cId="3865074648" sldId="2147484581"/>
          </pc:sldLayoutMkLst>
        </pc:sldLayoutChg>
      </pc:sldMasterChg>
    </pc:docChg>
  </pc:docChgLst>
  <pc:docChgLst>
    <pc:chgData name="Jean-Paul Wehrens" userId="S::jean-paul.wehrens@bearingpoint.com::7c725314-a4e2-4811-9fb8-8115739b4bb2" providerId="AD" clId="Web-{90380B7A-1E0D-274F-4870-93A8DF315509}"/>
    <pc:docChg chg="modSld">
      <pc:chgData name="Jean-Paul Wehrens" userId="S::jean-paul.wehrens@bearingpoint.com::7c725314-a4e2-4811-9fb8-8115739b4bb2" providerId="AD" clId="Web-{90380B7A-1E0D-274F-4870-93A8DF315509}" dt="2025-05-28T09:18:20.770" v="91" actId="20577"/>
      <pc:docMkLst>
        <pc:docMk/>
      </pc:docMkLst>
      <pc:sldChg chg="modSp">
        <pc:chgData name="Jean-Paul Wehrens" userId="S::jean-paul.wehrens@bearingpoint.com::7c725314-a4e2-4811-9fb8-8115739b4bb2" providerId="AD" clId="Web-{90380B7A-1E0D-274F-4870-93A8DF315509}" dt="2025-05-28T09:18:20.770" v="91" actId="20577"/>
        <pc:sldMkLst>
          <pc:docMk/>
          <pc:sldMk cId="4138139941" sldId="2147375966"/>
        </pc:sldMkLst>
        <pc:spChg chg="mod">
          <ac:chgData name="Jean-Paul Wehrens" userId="S::jean-paul.wehrens@bearingpoint.com::7c725314-a4e2-4811-9fb8-8115739b4bb2" providerId="AD" clId="Web-{90380B7A-1E0D-274F-4870-93A8DF315509}" dt="2025-05-28T09:10:37.050" v="26" actId="14100"/>
          <ac:spMkLst>
            <pc:docMk/>
            <pc:sldMk cId="4138139941" sldId="2147375966"/>
            <ac:spMk id="37" creationId="{6385BE70-D55F-4AE3-50BB-203C913FCDEB}"/>
          </ac:spMkLst>
        </pc:spChg>
        <pc:spChg chg="mod">
          <ac:chgData name="Jean-Paul Wehrens" userId="S::jean-paul.wehrens@bearingpoint.com::7c725314-a4e2-4811-9fb8-8115739b4bb2" providerId="AD" clId="Web-{90380B7A-1E0D-274F-4870-93A8DF315509}" dt="2025-05-28T09:10:45.002" v="27" actId="1076"/>
          <ac:spMkLst>
            <pc:docMk/>
            <pc:sldMk cId="4138139941" sldId="2147375966"/>
            <ac:spMk id="38" creationId="{2E678D2A-8ECD-61E9-D3DC-34130581CCDA}"/>
          </ac:spMkLst>
        </pc:spChg>
        <pc:spChg chg="mod">
          <ac:chgData name="Jean-Paul Wehrens" userId="S::jean-paul.wehrens@bearingpoint.com::7c725314-a4e2-4811-9fb8-8115739b4bb2" providerId="AD" clId="Web-{90380B7A-1E0D-274F-4870-93A8DF315509}" dt="2025-05-28T09:12:02.726" v="37" actId="14100"/>
          <ac:spMkLst>
            <pc:docMk/>
            <pc:sldMk cId="4138139941" sldId="2147375966"/>
            <ac:spMk id="49" creationId="{7A0F1A97-651D-25C8-F6A2-6FCBDFF761E6}"/>
          </ac:spMkLst>
        </pc:spChg>
        <pc:spChg chg="mod">
          <ac:chgData name="Jean-Paul Wehrens" userId="S::jean-paul.wehrens@bearingpoint.com::7c725314-a4e2-4811-9fb8-8115739b4bb2" providerId="AD" clId="Web-{90380B7A-1E0D-274F-4870-93A8DF315509}" dt="2025-05-28T09:18:20.770" v="91" actId="20577"/>
          <ac:spMkLst>
            <pc:docMk/>
            <pc:sldMk cId="4138139941" sldId="2147375966"/>
            <ac:spMk id="50" creationId="{A608685C-F13E-F7FA-6709-C0998828BC1C}"/>
          </ac:spMkLst>
        </pc:spChg>
        <pc:spChg chg="mod">
          <ac:chgData name="Jean-Paul Wehrens" userId="S::jean-paul.wehrens@bearingpoint.com::7c725314-a4e2-4811-9fb8-8115739b4bb2" providerId="AD" clId="Web-{90380B7A-1E0D-274F-4870-93A8DF315509}" dt="2025-05-28T09:11:10.879" v="30" actId="14100"/>
          <ac:spMkLst>
            <pc:docMk/>
            <pc:sldMk cId="4138139941" sldId="2147375966"/>
            <ac:spMk id="51" creationId="{A939C799-714A-6134-6E38-84B6A4B7CDD3}"/>
          </ac:spMkLst>
        </pc:spChg>
        <pc:spChg chg="mod">
          <ac:chgData name="Jean-Paul Wehrens" userId="S::jean-paul.wehrens@bearingpoint.com::7c725314-a4e2-4811-9fb8-8115739b4bb2" providerId="AD" clId="Web-{90380B7A-1E0D-274F-4870-93A8DF315509}" dt="2025-05-28T09:11:22.630" v="35" actId="1076"/>
          <ac:spMkLst>
            <pc:docMk/>
            <pc:sldMk cId="4138139941" sldId="2147375966"/>
            <ac:spMk id="52" creationId="{F18ADE50-03F4-EC22-2418-1E82275DCD86}"/>
          </ac:spMkLst>
        </pc:spChg>
        <pc:spChg chg="mod">
          <ac:chgData name="Jean-Paul Wehrens" userId="S::jean-paul.wehrens@bearingpoint.com::7c725314-a4e2-4811-9fb8-8115739b4bb2" providerId="AD" clId="Web-{90380B7A-1E0D-274F-4870-93A8DF315509}" dt="2025-05-28T09:18:07.566" v="80" actId="14100"/>
          <ac:spMkLst>
            <pc:docMk/>
            <pc:sldMk cId="4138139941" sldId="2147375966"/>
            <ac:spMk id="55" creationId="{16897C38-BB1F-79A6-7CCA-A4F4331787F4}"/>
          </ac:spMkLst>
        </pc:spChg>
        <pc:spChg chg="mod">
          <ac:chgData name="Jean-Paul Wehrens" userId="S::jean-paul.wehrens@bearingpoint.com::7c725314-a4e2-4811-9fb8-8115739b4bb2" providerId="AD" clId="Web-{90380B7A-1E0D-274F-4870-93A8DF315509}" dt="2025-05-28T09:18:09.426" v="81" actId="1076"/>
          <ac:spMkLst>
            <pc:docMk/>
            <pc:sldMk cId="4138139941" sldId="2147375966"/>
            <ac:spMk id="56" creationId="{F53E2679-71E1-CC0E-707F-1316912472FE}"/>
          </ac:spMkLst>
        </pc:spChg>
      </pc:sldChg>
    </pc:docChg>
  </pc:docChgLst>
  <pc:docChgLst>
    <pc:chgData name="Ralf Dillmann" userId="8fa146ec-ff00-4ee9-9512-bdb124d1fcd9" providerId="ADAL" clId="{69955CFF-1F01-48DC-BB38-EBAD16317F1C}"/>
    <pc:docChg chg="custSel addSld modSld">
      <pc:chgData name="Ralf Dillmann" userId="8fa146ec-ff00-4ee9-9512-bdb124d1fcd9" providerId="ADAL" clId="{69955CFF-1F01-48DC-BB38-EBAD16317F1C}" dt="2025-05-27T17:39:15.963" v="439" actId="5793"/>
      <pc:docMkLst>
        <pc:docMk/>
      </pc:docMkLst>
      <pc:sldChg chg="addSp modSp mod">
        <pc:chgData name="Ralf Dillmann" userId="8fa146ec-ff00-4ee9-9512-bdb124d1fcd9" providerId="ADAL" clId="{69955CFF-1F01-48DC-BB38-EBAD16317F1C}" dt="2025-05-27T17:33:50.348" v="62" actId="207"/>
        <pc:sldMkLst>
          <pc:docMk/>
          <pc:sldMk cId="3899143237" sldId="2147482130"/>
        </pc:sldMkLst>
      </pc:sldChg>
      <pc:sldChg chg="addSp delSp modSp new mod">
        <pc:chgData name="Ralf Dillmann" userId="8fa146ec-ff00-4ee9-9512-bdb124d1fcd9" providerId="ADAL" clId="{69955CFF-1F01-48DC-BB38-EBAD16317F1C}" dt="2025-05-27T17:39:15.963" v="439" actId="5793"/>
        <pc:sldMkLst>
          <pc:docMk/>
          <pc:sldMk cId="3560137119" sldId="214748214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2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>
              <a:defRPr sz="1200"/>
            </a:lvl1pPr>
          </a:lstStyle>
          <a:p>
            <a:fld id="{4FCF4903-D1A4-F14A-B207-A0D2CC9D4B8B}" type="datetimeFigureOut">
              <a:rPr lang="en-US" smtClean="0"/>
              <a:t>6/2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7318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377318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>
              <a:defRPr sz="1200"/>
            </a:lvl1pPr>
          </a:lstStyle>
          <a:p>
            <a:fld id="{B5DD393E-432A-C040-A9FC-9C0644B7F7D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2957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>
              <a:defRPr sz="1200"/>
            </a:lvl1pPr>
          </a:lstStyle>
          <a:p>
            <a:fld id="{BC5B4241-C98F-4766-9E25-5F8403374385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7" tIns="45714" rIns="91427" bIns="4571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27" tIns="45714" rIns="91427" bIns="45714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377318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377318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>
              <a:defRPr sz="1200"/>
            </a:lvl1pPr>
          </a:lstStyle>
          <a:p>
            <a:fld id="{3C26ED65-54EF-4DE1-A434-72CD553BB44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21871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38977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1pPr>
    <a:lvl2pPr marL="519488" algn="l" defTabSz="1038977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2pPr>
    <a:lvl3pPr marL="1038977" algn="l" defTabSz="1038977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3pPr>
    <a:lvl4pPr marL="1558465" algn="l" defTabSz="1038977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4pPr>
    <a:lvl5pPr marL="2077952" algn="l" defTabSz="1038977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5pPr>
    <a:lvl6pPr marL="2597440" algn="l" defTabSz="1038977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6pPr>
    <a:lvl7pPr marL="3116929" algn="l" defTabSz="1038977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7pPr>
    <a:lvl8pPr marL="3636417" algn="l" defTabSz="1038977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8pPr>
    <a:lvl9pPr marL="4155905" algn="l" defTabSz="1038977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Gartner Hype Cycle, </a:t>
            </a:r>
            <a:r>
              <a:rPr lang="de-DE" err="1"/>
              <a:t>GenAI</a:t>
            </a:r>
            <a:r>
              <a:rPr lang="de-DE"/>
              <a:t> auf Höhepunkt der Erwartung und es wird davon ausgegangen, dass </a:t>
            </a:r>
            <a:r>
              <a:rPr lang="de-DE" err="1"/>
              <a:t>genAI</a:t>
            </a:r>
            <a:r>
              <a:rPr lang="de-DE"/>
              <a:t> </a:t>
            </a:r>
            <a:r>
              <a:rPr lang="de-DE" err="1"/>
              <a:t>inerhalb</a:t>
            </a:r>
            <a:r>
              <a:rPr lang="de-DE"/>
              <a:t> von 2-5 </a:t>
            </a:r>
            <a:r>
              <a:rPr lang="de-DE" err="1"/>
              <a:t>jahren</a:t>
            </a:r>
            <a:r>
              <a:rPr lang="de-DE"/>
              <a:t> das </a:t>
            </a:r>
            <a:r>
              <a:rPr lang="de-DE" err="1"/>
              <a:t>mainstream</a:t>
            </a:r>
            <a:r>
              <a:rPr lang="de-DE"/>
              <a:t> erreichen wir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6ED65-54EF-4DE1-A434-72CD553BB44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88087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6ED65-54EF-4DE1-A434-72CD553BB447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0261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C99EA3-EF3D-D4C7-27E4-F092DC254C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EFFBB73-A7DF-6437-ECE0-9B3731C103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7669CD0-3357-096F-358B-5C948980C2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7842BD-36AD-A383-B05E-99F2E7334C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6ED65-54EF-4DE1-A434-72CD553BB44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15100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6ED65-54EF-4DE1-A434-72CD553BB447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10081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6ED65-54EF-4DE1-A434-72CD553BB447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0631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1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4.svg"/><Relationship Id="rId4" Type="http://schemas.openxmlformats.org/officeDocument/2006/relationships/image" Target="../media/image3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4.svg"/><Relationship Id="rId4" Type="http://schemas.openxmlformats.org/officeDocument/2006/relationships/image" Target="../media/image3.png"/></Relationships>
</file>

<file path=ppt/slideLayouts/_rels/slideLayout12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4.svg"/><Relationship Id="rId4" Type="http://schemas.openxmlformats.org/officeDocument/2006/relationships/image" Target="../media/image3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4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photo/3d-ai-artificial-intelligence-artwork-1166602/" TargetMode="External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4.sv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4.sv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7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8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9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5.svg"/><Relationship Id="rId4" Type="http://schemas.openxmlformats.org/officeDocument/2006/relationships/image" Target="../media/image1.pn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7" Type="http://schemas.openxmlformats.org/officeDocument/2006/relationships/image" Target="../media/image4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5.png"/><Relationship Id="rId5" Type="http://schemas.openxmlformats.org/officeDocument/2006/relationships/image" Target="../media/image40.svg"/><Relationship Id="rId4" Type="http://schemas.openxmlformats.org/officeDocument/2006/relationships/image" Target="../media/image13.pn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8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2.svg"/><Relationship Id="rId4" Type="http://schemas.openxmlformats.org/officeDocument/2006/relationships/image" Target="../media/image3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32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47.emf"/><Relationship Id="rId4" Type="http://schemas.openxmlformats.org/officeDocument/2006/relationships/oleObject" Target="../embeddings/oleObject2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32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47.emf"/><Relationship Id="rId4" Type="http://schemas.openxmlformats.org/officeDocument/2006/relationships/oleObject" Target="../embeddings/oleObject2.bin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49.pn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2.bin"/><Relationship Id="rId4" Type="http://schemas.microsoft.com/office/2007/relationships/hdphoto" Target="../media/hdphoto3.wdp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50.pn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2.bin"/><Relationship Id="rId4" Type="http://schemas.microsoft.com/office/2007/relationships/hdphoto" Target="../media/hdphoto4.wdp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51.pn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2.bin"/><Relationship Id="rId4" Type="http://schemas.microsoft.com/office/2007/relationships/hdphoto" Target="../media/hdphoto5.wdp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52.pn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2.bin"/><Relationship Id="rId4" Type="http://schemas.microsoft.com/office/2007/relationships/hdphoto" Target="../media/hdphoto6.wdp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32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47.emf"/><Relationship Id="rId4" Type="http://schemas.openxmlformats.org/officeDocument/2006/relationships/oleObject" Target="../embeddings/oleObject2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7" Type="http://schemas.openxmlformats.org/officeDocument/2006/relationships/image" Target="../media/image32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47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2.bin"/><Relationship Id="rId4" Type="http://schemas.openxmlformats.org/officeDocument/2006/relationships/hyperlink" Target="https://www.flickr.com/photos/pierreaden/22978218261/" TargetMode="Externa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2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47.emf"/><Relationship Id="rId4" Type="http://schemas.openxmlformats.org/officeDocument/2006/relationships/oleObject" Target="../embeddings/oleObject2.bin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56.pn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2.bin"/><Relationship Id="rId4" Type="http://schemas.microsoft.com/office/2007/relationships/hdphoto" Target="../media/hdphoto7.wdp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57.pn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2.bin"/><Relationship Id="rId4" Type="http://schemas.microsoft.com/office/2007/relationships/hdphoto" Target="../media/hdphoto8.wdp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9.svg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sv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4.svg"/><Relationship Id="rId4" Type="http://schemas.openxmlformats.org/officeDocument/2006/relationships/image" Target="../media/image3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4.svg"/><Relationship Id="rId4" Type="http://schemas.openxmlformats.org/officeDocument/2006/relationships/image" Target="../media/image3.png"/></Relationships>
</file>

<file path=ppt/slideLayouts/_rels/slideLayout20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4.svg"/><Relationship Id="rId4" Type="http://schemas.openxmlformats.org/officeDocument/2006/relationships/image" Target="../media/image3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4.sv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photo/3d-ai-artificial-intelligence-artwork-1166602/" TargetMode="External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4.svg"/><Relationship Id="rId4" Type="http://schemas.openxmlformats.org/officeDocument/2006/relationships/image" Target="../media/image3.pn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4.sv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1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1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46D3151-25A0-4DAA-932E-25B89A75A3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0EAEC6-A20E-40E6-BA0D-8C1A63780B40}"/>
              </a:ext>
            </a:extLst>
          </p:cNvPr>
          <p:cNvSpPr/>
          <p:nvPr userDrawn="1"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288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2561BC8E-BFFD-4037-BA1A-2F1F68F79F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761918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A44BD718-C874-4D66-B650-3D63B5459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95D67AEE-74D2-439C-AB83-0F4DCBB8C6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9983C4-1894-404D-9151-2075CE8B1B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tx1"/>
                </a:solidFill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defRPr lang="en-US" smtClean="0">
                <a:solidFill>
                  <a:schemeClr val="tx1"/>
                </a:solidFill>
              </a:defRPr>
            </a:lvl3pPr>
            <a:lvl4pPr>
              <a:defRPr lang="en-US" smtClean="0">
                <a:solidFill>
                  <a:schemeClr val="tx1"/>
                </a:solidFill>
              </a:defRPr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DE8F47-2ED3-46AD-A6D0-333B57727AB1}"/>
              </a:ext>
            </a:extLst>
          </p:cNvPr>
          <p:cNvSpPr/>
          <p:nvPr userDrawn="1"/>
        </p:nvSpPr>
        <p:spPr>
          <a:xfrm>
            <a:off x="5962650" y="6505575"/>
            <a:ext cx="285750" cy="1357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71474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6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095DA2FA-1741-4D2B-B08C-129D74074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DBD28D12-AA61-4AF0-ABD0-23697F0476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8E913D8-7CB3-4B88-AB38-30DDB1466C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tx1"/>
                </a:solidFill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defRPr lang="en-US" smtClean="0">
                <a:solidFill>
                  <a:schemeClr val="tx1"/>
                </a:solidFill>
              </a:defRPr>
            </a:lvl3pPr>
            <a:lvl4pPr>
              <a:defRPr lang="en-US" smtClean="0">
                <a:solidFill>
                  <a:schemeClr val="tx1"/>
                </a:solidFill>
              </a:defRPr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474C0D-E6ED-4E44-9977-4EB6718CA2A2}"/>
              </a:ext>
            </a:extLst>
          </p:cNvPr>
          <p:cNvSpPr/>
          <p:nvPr userDrawn="1"/>
        </p:nvSpPr>
        <p:spPr>
          <a:xfrm>
            <a:off x="5962650" y="6505575"/>
            <a:ext cx="285750" cy="1357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42EC5DE7-3E80-4C68-890A-E3D664FBE1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3428993"/>
            <a:ext cx="6096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26522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Espace réservé pour une image  2">
            <a:extLst>
              <a:ext uri="{FF2B5EF4-FFF2-40B4-BE49-F238E27FC236}">
                <a16:creationId xmlns:a16="http://schemas.microsoft.com/office/drawing/2014/main" id="{E7605A3B-0179-473B-9CB6-CC5A493B96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44001" y="0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Espace réservé pour une image  2">
            <a:extLst>
              <a:ext uri="{FF2B5EF4-FFF2-40B4-BE49-F238E27FC236}">
                <a16:creationId xmlns:a16="http://schemas.microsoft.com/office/drawing/2014/main" id="{15060EE6-A355-453C-AA84-ABCFFCC6CA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4001" y="3428993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706603BD-449F-4146-BC92-4D9C5E9D7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raphic 22">
            <a:extLst>
              <a:ext uri="{FF2B5EF4-FFF2-40B4-BE49-F238E27FC236}">
                <a16:creationId xmlns:a16="http://schemas.microsoft.com/office/drawing/2014/main" id="{D3BCF6FE-1697-4B69-BF27-4D3C981A27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9F7F2BB-4F6E-413F-8B6C-741A21A2D1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tx1"/>
                </a:solidFill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defRPr lang="en-US" smtClean="0">
                <a:solidFill>
                  <a:schemeClr val="tx1"/>
                </a:solidFill>
              </a:defRPr>
            </a:lvl3pPr>
            <a:lvl4pPr>
              <a:defRPr lang="en-US" smtClean="0">
                <a:solidFill>
                  <a:schemeClr val="tx1"/>
                </a:solidFill>
              </a:defRPr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A01A2D-7378-48B9-901E-F25D438A63DE}"/>
              </a:ext>
            </a:extLst>
          </p:cNvPr>
          <p:cNvSpPr/>
          <p:nvPr userDrawn="1"/>
        </p:nvSpPr>
        <p:spPr>
          <a:xfrm>
            <a:off x="5962650" y="6505575"/>
            <a:ext cx="285750" cy="1357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42EC5DE7-3E80-4C68-890A-E3D664FBE1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3428993"/>
            <a:ext cx="3048000" cy="342900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74578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text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BD8D428F-1999-4CD7-803A-0499EFBBC9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3732213"/>
            <a:ext cx="5021262" cy="19446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85373431-056A-4064-9619-EA69252277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0025" y="517101"/>
            <a:ext cx="5018088" cy="19431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598D7C8E-D578-4DD4-862C-7D2255F6F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8D0377-E092-44FD-9E10-2B55E4AC6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879600"/>
            <a:ext cx="5021262" cy="154939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D20D25-472D-4874-8F4C-9AD56601BB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2743200"/>
            <a:ext cx="5021262" cy="29337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fr-FR" sz="12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5055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text 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14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text Pink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938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text Blac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 marL="0" indent="0">
              <a:defRPr>
                <a:solidFill>
                  <a:schemeClr val="bg1"/>
                </a:solidFill>
              </a:defRPr>
            </a:lvl5pPr>
          </a:lstStyle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577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CD9725D-EA1E-4B70-B6EC-DB2F0E4A81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7038" y="571500"/>
            <a:ext cx="8680450" cy="5734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Click to add image</a:t>
            </a:r>
            <a:endParaRPr lang="en-US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362D5DB-01A7-4F16-92C7-0A276E1D05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21699" y="1808163"/>
            <a:ext cx="3243171" cy="32416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288000" rIns="432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0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pPr lvl="0" defTabSz="519488">
              <a:lnSpc>
                <a:spcPct val="120000"/>
              </a:lnSpc>
            </a:pPr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5055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box Full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CD9725D-EA1E-4B70-B6EC-DB2F0E4A81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948829" cy="6858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362D5DB-01A7-4F16-92C7-0A276E1D05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48829" y="1"/>
            <a:ext cx="3243171" cy="68579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288000" rIns="432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0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pPr lvl="0" defTabSz="519488">
              <a:lnSpc>
                <a:spcPct val="120000"/>
              </a:lnSpc>
            </a:pPr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6" name="Graphic 22">
            <a:extLst>
              <a:ext uri="{FF2B5EF4-FFF2-40B4-BE49-F238E27FC236}">
                <a16:creationId xmlns:a16="http://schemas.microsoft.com/office/drawing/2014/main" id="{E58B5C9E-B015-4AC2-AB46-7A889B1EC4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650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921B6F65-DC7E-4564-B0B1-327BED38BC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97DDF472-E24C-4F1C-A0D3-A1A5647EE7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2" name="Graphic 22">
            <a:extLst>
              <a:ext uri="{FF2B5EF4-FFF2-40B4-BE49-F238E27FC236}">
                <a16:creationId xmlns:a16="http://schemas.microsoft.com/office/drawing/2014/main" id="{7ABCD871-88F8-4F4D-AF5B-FC4472490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28" name="Image 9">
            <a:extLst>
              <a:ext uri="{FF2B5EF4-FFF2-40B4-BE49-F238E27FC236}">
                <a16:creationId xmlns:a16="http://schemas.microsoft.com/office/drawing/2014/main" id="{4E4B90D4-8E8A-4EA4-8F60-DCC3391CF43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533534" y="1971480"/>
            <a:ext cx="6278252" cy="3687064"/>
          </a:xfrm>
          <a:prstGeom prst="rect">
            <a:avLst/>
          </a:prstGeom>
        </p:spPr>
      </p:pic>
      <p:sp>
        <p:nvSpPr>
          <p:cNvPr id="29" name="Espace réservé pour une image  2">
            <a:extLst>
              <a:ext uri="{FF2B5EF4-FFF2-40B4-BE49-F238E27FC236}">
                <a16:creationId xmlns:a16="http://schemas.microsoft.com/office/drawing/2014/main" id="{4589F180-D102-42EB-B282-FCC03EB535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07931" y="2231230"/>
            <a:ext cx="4731544" cy="295989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83604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2AD501A-AD9B-422F-BC38-A8D4766F990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B1F17EE-6AB9-4C97-B107-6061ADD798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82041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97555282-95F1-4C07-954C-4168E28D8C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001DBB0E-39EE-41B6-B341-E9B509DE23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0" name="Graphic 22">
            <a:extLst>
              <a:ext uri="{FF2B5EF4-FFF2-40B4-BE49-F238E27FC236}">
                <a16:creationId xmlns:a16="http://schemas.microsoft.com/office/drawing/2014/main" id="{A0017530-C44F-43F2-AE0E-E6763B0578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20" name="Image 10">
            <a:extLst>
              <a:ext uri="{FF2B5EF4-FFF2-40B4-BE49-F238E27FC236}">
                <a16:creationId xmlns:a16="http://schemas.microsoft.com/office/drawing/2014/main" id="{F357BF8C-457A-4EA8-A1A9-4F132C632F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20220" y="1468131"/>
            <a:ext cx="3304880" cy="4633312"/>
          </a:xfrm>
          <a:prstGeom prst="rect">
            <a:avLst/>
          </a:prstGeom>
        </p:spPr>
      </p:pic>
      <p:sp>
        <p:nvSpPr>
          <p:cNvPr id="21" name="Espace réservé pour une image  2">
            <a:extLst>
              <a:ext uri="{FF2B5EF4-FFF2-40B4-BE49-F238E27FC236}">
                <a16:creationId xmlns:a16="http://schemas.microsoft.com/office/drawing/2014/main" id="{99685A86-1D3B-41FD-B36F-85CC9192D9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83450" y="1928814"/>
            <a:ext cx="2774156" cy="37052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39037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phone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65CA6B81-4DD4-4D81-91C7-76E9370AF5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2" name="Graphic 22">
            <a:extLst>
              <a:ext uri="{FF2B5EF4-FFF2-40B4-BE49-F238E27FC236}">
                <a16:creationId xmlns:a16="http://schemas.microsoft.com/office/drawing/2014/main" id="{CF12F35B-4DF9-4EEA-ACB9-42F19C1068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31" name="Image 9">
            <a:extLst>
              <a:ext uri="{FF2B5EF4-FFF2-40B4-BE49-F238E27FC236}">
                <a16:creationId xmlns:a16="http://schemas.microsoft.com/office/drawing/2014/main" id="{4B7A52C0-350D-45D2-8DA6-237153D563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55463" y="1560206"/>
            <a:ext cx="2434394" cy="4459594"/>
          </a:xfrm>
          <a:prstGeom prst="rect">
            <a:avLst/>
          </a:prstGeom>
        </p:spPr>
      </p:pic>
      <p:sp>
        <p:nvSpPr>
          <p:cNvPr id="32" name="Espace réservé pour une image  2">
            <a:extLst>
              <a:ext uri="{FF2B5EF4-FFF2-40B4-BE49-F238E27FC236}">
                <a16:creationId xmlns:a16="http://schemas.microsoft.com/office/drawing/2014/main" id="{2AD37720-83A9-48DD-9A80-31E2F97122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063" y="2147887"/>
            <a:ext cx="1862930" cy="329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03C65A44-B5D9-4B61-8951-86F1E2CAD3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8182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orient="horz" pos="39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A829859B-BEDB-4EE6-8FBB-7FAA00ACD2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06532" y="1628775"/>
            <a:ext cx="5261580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895159-EF8E-483A-B23D-9F4D082BD5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1628775"/>
            <a:ext cx="5261580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82CFEC60-8A31-480A-B4C9-65A5C05FE13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7" y="917325"/>
            <a:ext cx="10944225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9231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A829859B-BEDB-4EE6-8FBB-7FAA00ACD2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400035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895159-EF8E-483A-B23D-9F4D082BD5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Espace réservé pour une image  2">
            <a:extLst>
              <a:ext uri="{FF2B5EF4-FFF2-40B4-BE49-F238E27FC236}">
                <a16:creationId xmlns:a16="http://schemas.microsoft.com/office/drawing/2014/main" id="{6E638EAA-0D75-402D-A97B-CB436517B4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76182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F8DF4B3B-9680-4753-BD83-79F5EDD0BA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7" y="917325"/>
            <a:ext cx="10944225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9705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1304AD92-A926-4829-A590-C49B112E415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358438" y="4191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23C40BE-7E5F-40E5-913E-F5D6D2331811}"/>
              </a:ext>
            </a:extLst>
          </p:cNvPr>
          <p:cNvSpPr/>
          <p:nvPr userDrawn="1"/>
        </p:nvSpPr>
        <p:spPr>
          <a:xfrm>
            <a:off x="623887" y="6098448"/>
            <a:ext cx="376238" cy="23888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8D6B6DE-2673-44A2-9901-4A07D74E7965}"/>
              </a:ext>
            </a:extLst>
          </p:cNvPr>
          <p:cNvSpPr txBox="1">
            <a:spLocks/>
          </p:cNvSpPr>
          <p:nvPr userDrawn="1"/>
        </p:nvSpPr>
        <p:spPr>
          <a:xfrm>
            <a:off x="650081" y="6103211"/>
            <a:ext cx="323850" cy="227211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ag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36AF437-7EEF-4E82-AC7D-64037FD7A3E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85851" y="6136024"/>
            <a:ext cx="160496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4pPr marL="374640" indent="0">
              <a:buFont typeface="Arial" panose="020B0604020202020204" pitchFamily="34" charset="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3"/>
            <a:r>
              <a:rPr lang="en-US" noProof="0"/>
              <a:t>Country</a:t>
            </a:r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BC23F954-5045-458A-B3A1-C5F5FC8F69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517101"/>
            <a:ext cx="9625012" cy="36933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819F818A-AA71-437B-8F94-166CBF4E3B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962501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851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634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&amp; pictur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FF6C77F-EEBB-4E11-8B84-7B1F8ED711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12" y="0"/>
            <a:ext cx="12198024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432C314-FC93-4C1B-811E-057CEB8F6131}"/>
              </a:ext>
            </a:extLst>
          </p:cNvPr>
          <p:cNvSpPr/>
          <p:nvPr userDrawn="1"/>
        </p:nvSpPr>
        <p:spPr>
          <a:xfrm>
            <a:off x="0" y="0"/>
            <a:ext cx="12191998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4BBDCF5-C556-4BA9-A4E7-5A71DF5CCD5E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chemeClr val="accent2">
                  <a:alpha val="90000"/>
                </a:schemeClr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01318534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B&amp;W &amp; picture - cen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FF6C77F-EEBB-4E11-8B84-7B1F8ED711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12" y="0"/>
            <a:ext cx="12198024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432C314-FC93-4C1B-811E-057CEB8F6131}"/>
              </a:ext>
            </a:extLst>
          </p:cNvPr>
          <p:cNvSpPr/>
          <p:nvPr userDrawn="1"/>
        </p:nvSpPr>
        <p:spPr>
          <a:xfrm>
            <a:off x="0" y="0"/>
            <a:ext cx="12191998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61670308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 Purple - Cente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21BC571-7584-429D-ACA0-4CE6A223D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408716765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Pink -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7389401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917325"/>
            <a:ext cx="10944224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E4EB6C-3D5C-4105-8C49-7F9DE26BA9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628775"/>
            <a:ext cx="10944225" cy="42100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lnSpc>
                <a:spcPct val="130000"/>
              </a:lnSpc>
              <a:spcAft>
                <a:spcPts val="300"/>
              </a:spcAft>
              <a:defRPr>
                <a:latin typeface="+mn-lt"/>
              </a:defRPr>
            </a:lvl4pPr>
            <a:lvl5pPr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  <a:buSzPct val="60000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04534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ts val="5400"/>
              </a:lnSpc>
              <a:defRPr lang="en-US" sz="4800" b="1" dirty="0" smtClean="0">
                <a:gradFill>
                  <a:gsLst>
                    <a:gs pos="0">
                      <a:schemeClr val="accent2"/>
                    </a:gs>
                    <a:gs pos="86000">
                      <a:schemeClr val="accent1"/>
                    </a:gs>
                  </a:gsLst>
                  <a:lin ang="2700000" scaled="0"/>
                </a:gradFill>
                <a:latin typeface="+mn-lt"/>
                <a:cs typeface="+mn-cs"/>
              </a:defRPr>
            </a:lvl1pPr>
          </a:lstStyle>
          <a:p>
            <a:pPr lvl="0" defTabSz="457200">
              <a:lnSpc>
                <a:spcPct val="100000"/>
              </a:lnSpc>
              <a:spcAft>
                <a:spcPts val="0"/>
              </a:spcAft>
              <a:buFontTx/>
            </a:pPr>
            <a:r>
              <a:rPr lang="en-US"/>
              <a:t>Key message</a:t>
            </a:r>
          </a:p>
        </p:txBody>
      </p:sp>
      <p:pic>
        <p:nvPicPr>
          <p:cNvPr id="5" name="Graphic 22">
            <a:extLst>
              <a:ext uri="{FF2B5EF4-FFF2-40B4-BE49-F238E27FC236}">
                <a16:creationId xmlns:a16="http://schemas.microsoft.com/office/drawing/2014/main" id="{D0075C18-B716-43EA-9120-6F496F3109D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7143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- Cente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2AD501A-AD9B-422F-BC38-A8D4766F990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AADEAE3-3EA8-428E-BCA2-61174AB8C3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411036174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AE68CF5-BE35-41D8-987E-89EC643CF1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FE163525-35D9-46B1-A335-A0CC467781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B6059E7-F239-4041-BFFD-1060300A5CA7}"/>
              </a:ext>
            </a:extLst>
          </p:cNvPr>
          <p:cNvSpPr/>
          <p:nvPr userDrawn="1"/>
        </p:nvSpPr>
        <p:spPr>
          <a:xfrm>
            <a:off x="8883382" y="-1"/>
            <a:ext cx="3308618" cy="3728019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11" name="Graphique 17">
            <a:extLst>
              <a:ext uri="{FF2B5EF4-FFF2-40B4-BE49-F238E27FC236}">
                <a16:creationId xmlns:a16="http://schemas.microsoft.com/office/drawing/2014/main" id="{66A1378D-6BAB-45C2-BF80-821EC686C99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09627" y="636997"/>
            <a:ext cx="170630" cy="170630"/>
          </a:xfrm>
          <a:prstGeom prst="rect">
            <a:avLst/>
          </a:prstGeom>
        </p:spPr>
      </p:pic>
      <p:pic>
        <p:nvPicPr>
          <p:cNvPr id="12" name="Graphique 18">
            <a:extLst>
              <a:ext uri="{FF2B5EF4-FFF2-40B4-BE49-F238E27FC236}">
                <a16:creationId xmlns:a16="http://schemas.microsoft.com/office/drawing/2014/main" id="{F49CD148-3EBF-497E-BF86-936A964388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6372" y="1007841"/>
            <a:ext cx="189590" cy="145352"/>
          </a:xfrm>
          <a:prstGeom prst="rect">
            <a:avLst/>
          </a:prstGeom>
        </p:spPr>
      </p:pic>
      <p:cxnSp>
        <p:nvCxnSpPr>
          <p:cNvPr id="13" name="Connecteur droit 20">
            <a:extLst>
              <a:ext uri="{FF2B5EF4-FFF2-40B4-BE49-F238E27FC236}">
                <a16:creationId xmlns:a16="http://schemas.microsoft.com/office/drawing/2014/main" id="{1E8D30A6-86CE-4371-97C8-AC8C0C1B0743}"/>
              </a:ext>
            </a:extLst>
          </p:cNvPr>
          <p:cNvCxnSpPr>
            <a:cxnSpLocks/>
          </p:cNvCxnSpPr>
          <p:nvPr userDrawn="1"/>
        </p:nvCxnSpPr>
        <p:spPr>
          <a:xfrm>
            <a:off x="9316372" y="1696466"/>
            <a:ext cx="386160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A4A7E8-B058-4072-BBDE-74AADF8D7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8" y="2842865"/>
            <a:ext cx="6721475" cy="2136775"/>
          </a:xfrm>
          <a:noFill/>
        </p:spPr>
        <p:txBody>
          <a:bodyPr/>
          <a:lstStyle>
            <a:lvl1pPr>
              <a:defRPr sz="5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fr-FR"/>
          </a:p>
        </p:txBody>
      </p:sp>
      <p:sp>
        <p:nvSpPr>
          <p:cNvPr id="14" name="Espace réservé du texte 9">
            <a:extLst>
              <a:ext uri="{FF2B5EF4-FFF2-40B4-BE49-F238E27FC236}">
                <a16:creationId xmlns:a16="http://schemas.microsoft.com/office/drawing/2014/main" id="{5817E426-6146-4666-828B-226889FEA37C}"/>
              </a:ext>
            </a:extLst>
          </p:cNvPr>
          <p:cNvSpPr txBox="1">
            <a:spLocks/>
          </p:cNvSpPr>
          <p:nvPr userDrawn="1"/>
        </p:nvSpPr>
        <p:spPr>
          <a:xfrm>
            <a:off x="623888" y="6091570"/>
            <a:ext cx="1919685" cy="6235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457189" rtl="0" eaLnBrk="1" latinLnBrk="0" hangingPunct="1">
              <a:spcBef>
                <a:spcPts val="1200"/>
              </a:spcBef>
              <a:spcAft>
                <a:spcPts val="30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GB" sz="1400" b="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796" indent="-177796" algn="l" defTabSz="457189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lang="en-GB" sz="14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42" indent="-180970" algn="l" defTabSz="514338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alibri" pitchFamily="34" charset="0"/>
              <a:buChar char="−"/>
              <a:defRPr lang="en-GB" sz="14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61" indent="-161921" algn="l" defTabSz="457189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itchFamily="49" charset="0"/>
              <a:buChar char="o"/>
              <a:tabLst/>
              <a:defRPr lang="en-GB" sz="12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2780" indent="-165096" algn="l" defTabSz="457189" rtl="0" eaLnBrk="1" latinLnBrk="0" hangingPunct="1">
              <a:spcBef>
                <a:spcPts val="0"/>
              </a:spcBef>
              <a:buClr>
                <a:srgbClr val="D52B1E"/>
              </a:buClr>
              <a:buFont typeface="Calibri" pitchFamily="34" charset="0"/>
              <a:buChar char="-"/>
              <a:tabLst/>
              <a:defRPr lang="en-GB" sz="1100" kern="1200" noProof="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200">
                <a:solidFill>
                  <a:schemeClr val="bg1"/>
                </a:solidFill>
              </a:rPr>
              <a:t>www.bearingpoint.com</a:t>
            </a:r>
          </a:p>
        </p:txBody>
      </p:sp>
    </p:spTree>
    <p:extLst>
      <p:ext uri="{BB962C8B-B14F-4D97-AF65-F5344CB8AC3E}">
        <p14:creationId xmlns:p14="http://schemas.microsoft.com/office/powerpoint/2010/main" val="349258717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aringPoint Logo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E19149A-C143-40CA-9518-C5427B0C76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14" name="Graphic 22">
            <a:extLst>
              <a:ext uri="{FF2B5EF4-FFF2-40B4-BE49-F238E27FC236}">
                <a16:creationId xmlns:a16="http://schemas.microsoft.com/office/drawing/2014/main" id="{B0ABA653-F417-4416-82DD-01FB0CEE3D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10025" y="3095149"/>
            <a:ext cx="4171950" cy="667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7071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view of a snow covered mountain&#10;&#10;Description automatically generated">
            <a:extLst>
              <a:ext uri="{FF2B5EF4-FFF2-40B4-BE49-F238E27FC236}">
                <a16:creationId xmlns:a16="http://schemas.microsoft.com/office/drawing/2014/main" id="{01CC6D2B-B16A-4606-8F31-9584F4347A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7" y="0"/>
            <a:ext cx="12189023" cy="6858000"/>
          </a:xfrm>
          <a:prstGeom prst="rect">
            <a:avLst/>
          </a:prstGeom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1DC880CA-3C0A-57F7-2635-591C6E8EA21C}"/>
              </a:ext>
            </a:extLst>
          </p:cNvPr>
          <p:cNvSpPr/>
          <p:nvPr userDrawn="1"/>
        </p:nvSpPr>
        <p:spPr>
          <a:xfrm>
            <a:off x="1" y="4762"/>
            <a:ext cx="12192000" cy="6858000"/>
          </a:xfrm>
          <a:prstGeom prst="rect">
            <a:avLst/>
          </a:prstGeom>
          <a:solidFill>
            <a:schemeClr val="accent6">
              <a:lumMod val="50000"/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905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B88159-855E-496E-BA12-E22A0FC020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433" y="3695883"/>
            <a:ext cx="9152835" cy="738664"/>
          </a:xfrm>
        </p:spPr>
        <p:txBody>
          <a:bodyPr anchor="b" anchorCtr="0"/>
          <a:lstStyle>
            <a:lvl1pPr algn="l">
              <a:defRPr sz="53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A86886-714C-4A82-BCF7-872B5EB024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433" y="4526621"/>
            <a:ext cx="9152835" cy="517064"/>
          </a:xfrm>
        </p:spPr>
        <p:txBody>
          <a:bodyPr/>
          <a:lstStyle>
            <a:lvl1pPr marL="0" indent="0" algn="l">
              <a:buNone/>
              <a:defRPr sz="37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E1E4EDA6-247C-4F90-A0F5-E5F4ED6FEC8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92" y="6555605"/>
            <a:ext cx="2743200" cy="138499"/>
          </a:xfrm>
          <a:prstGeom prst="rect">
            <a:avLst/>
          </a:prstGeom>
        </p:spPr>
        <p:txBody>
          <a:bodyPr/>
          <a:lstStyle/>
          <a:p>
            <a:fld id="{BAF1F99E-22E3-455D-A858-00EF66EB4007}" type="datetimeFigureOut">
              <a:rPr lang="en-GB" smtClean="0"/>
              <a:t>25/06/2025</a:t>
            </a:fld>
            <a:endParaRPr lang="en-GB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3F46E71D-4FDA-4FDE-9A46-B1DFBA86E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381" y="6555605"/>
            <a:ext cx="4114800" cy="13849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F5A0A1B3-30DE-46F2-8F67-1AF94E53C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8771" y="6555605"/>
            <a:ext cx="2743200" cy="138499"/>
          </a:xfrm>
          <a:prstGeom prst="rect">
            <a:avLst/>
          </a:prstGeom>
        </p:spPr>
        <p:txBody>
          <a:bodyPr/>
          <a:lstStyle/>
          <a:p>
            <a:fld id="{0FA33E44-D8BE-458D-A494-3108DAF1643D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20E7EB2-562E-4F3B-812F-B6FEEA110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823" y="5071529"/>
            <a:ext cx="9152835" cy="263149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Graphic 22">
            <a:extLst>
              <a:ext uri="{FF2B5EF4-FFF2-40B4-BE49-F238E27FC236}">
                <a16:creationId xmlns:a16="http://schemas.microsoft.com/office/drawing/2014/main" id="{CDF17183-B50A-364B-BCB1-3D2D8826BD6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770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 black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98E9D5B5-89E6-4889-847E-4495B7E98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2" y="189035"/>
            <a:ext cx="11514911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4" name="Graphic 22">
            <a:extLst>
              <a:ext uri="{FF2B5EF4-FFF2-40B4-BE49-F238E27FC236}">
                <a16:creationId xmlns:a16="http://schemas.microsoft.com/office/drawing/2014/main" id="{0CEF1B9E-BE79-CB4C-9650-B12275725C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63536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view of a snow covered mountain&#10;&#10;Description automatically generated">
            <a:extLst>
              <a:ext uri="{FF2B5EF4-FFF2-40B4-BE49-F238E27FC236}">
                <a16:creationId xmlns:a16="http://schemas.microsoft.com/office/drawing/2014/main" id="{01CC6D2B-B16A-4606-8F31-9584F4347A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" y="0"/>
            <a:ext cx="12189023" cy="6858000"/>
          </a:xfrm>
          <a:prstGeom prst="rect">
            <a:avLst/>
          </a:prstGeom>
        </p:spPr>
      </p:pic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E1E4EDA6-247C-4F90-A0F5-E5F4ED6FEC8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92" y="6555605"/>
            <a:ext cx="2743200" cy="138499"/>
          </a:xfrm>
          <a:prstGeom prst="rect">
            <a:avLst/>
          </a:prstGeom>
        </p:spPr>
        <p:txBody>
          <a:bodyPr/>
          <a:lstStyle/>
          <a:p>
            <a:fld id="{BAF1F99E-22E3-455D-A858-00EF66EB4007}" type="datetimeFigureOut">
              <a:rPr lang="en-GB" smtClean="0"/>
              <a:t>25/06/2025</a:t>
            </a:fld>
            <a:endParaRPr lang="en-GB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3F46E71D-4FDA-4FDE-9A46-B1DFBA86E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381" y="6555605"/>
            <a:ext cx="4114800" cy="13849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F5A0A1B3-30DE-46F2-8F67-1AF94E53C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8771" y="6555605"/>
            <a:ext cx="2743200" cy="138499"/>
          </a:xfrm>
          <a:prstGeom prst="rect">
            <a:avLst/>
          </a:prstGeom>
        </p:spPr>
        <p:txBody>
          <a:bodyPr/>
          <a:lstStyle/>
          <a:p>
            <a:fld id="{0FA33E44-D8BE-458D-A494-3108DAF1643D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7083468-451E-594C-89C4-59CC4DD20B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4" y="1136257"/>
            <a:ext cx="11523133" cy="33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900" b="1" noProof="0" dirty="0" smtClea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spcBef>
                <a:spcPts val="0"/>
              </a:spcBef>
              <a:buFont typeface="Arial" pitchFamily="34" charset="0"/>
            </a:pPr>
            <a:r>
              <a:rPr lang="en-US" noProof="0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D1B3A22-28DC-3148-B985-9B411262B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4" y="188385"/>
            <a:ext cx="11514909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B58EB0C-560C-43D2-AF25-F9D34C40FE82}"/>
              </a:ext>
            </a:extLst>
          </p:cNvPr>
          <p:cNvSpPr/>
          <p:nvPr userDrawn="1"/>
        </p:nvSpPr>
        <p:spPr>
          <a:xfrm>
            <a:off x="1488" y="0"/>
            <a:ext cx="12192000" cy="6858000"/>
          </a:xfrm>
          <a:prstGeom prst="rect">
            <a:avLst/>
          </a:prstGeom>
          <a:solidFill>
            <a:srgbClr val="0D0D0D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22">
            <a:extLst>
              <a:ext uri="{FF2B5EF4-FFF2-40B4-BE49-F238E27FC236}">
                <a16:creationId xmlns:a16="http://schemas.microsoft.com/office/drawing/2014/main" id="{7A03E560-9CBB-9B4A-83B3-990F943DCF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075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Divider Image">
    <p:bg>
      <p:bgPr>
        <a:gradFill>
          <a:gsLst>
            <a:gs pos="0">
              <a:schemeClr val="accent1"/>
            </a:gs>
            <a:gs pos="98000">
              <a:schemeClr val="accent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EDIA 0038.jpg">
            <a:extLst>
              <a:ext uri="{FF2B5EF4-FFF2-40B4-BE49-F238E27FC236}">
                <a16:creationId xmlns:a16="http://schemas.microsoft.com/office/drawing/2014/main" id="{7B51432F-1FCF-4A68-869F-3AE0A063F4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61472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C433551-E20F-B046-B844-4BD2603DD2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2" y="189035"/>
            <a:ext cx="11514911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C15EBF9-74E8-8F4F-A0B0-A133541CD9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4" y="1136257"/>
            <a:ext cx="11523133" cy="33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900" b="1" noProof="0" dirty="0" smtClea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spcBef>
                <a:spcPts val="0"/>
              </a:spcBef>
              <a:buFont typeface="Arial" pitchFamily="34" charset="0"/>
            </a:pPr>
            <a:r>
              <a:rPr lang="en-US" noProof="0"/>
              <a:t>Click to edit Master text style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B593563-D892-4843-9944-B01B5B73B01B}"/>
              </a:ext>
            </a:extLst>
          </p:cNvPr>
          <p:cNvSpPr/>
          <p:nvPr userDrawn="1"/>
        </p:nvSpPr>
        <p:spPr>
          <a:xfrm>
            <a:off x="0" y="0"/>
            <a:ext cx="12261472" cy="6858000"/>
          </a:xfrm>
          <a:prstGeom prst="rect">
            <a:avLst/>
          </a:prstGeom>
          <a:solidFill>
            <a:srgbClr val="0D0D0D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A3EBB630-B3BE-F944-A5BC-219EBE5CB5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00261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Quote 1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27F0E0-2AD4-E467-62C9-29111EB33C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62"/>
            <a:ext cx="12268200" cy="685323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13ADB47-7543-D24F-AC77-5CFFCB6C7C3C}"/>
              </a:ext>
            </a:extLst>
          </p:cNvPr>
          <p:cNvSpPr/>
          <p:nvPr userDrawn="1"/>
        </p:nvSpPr>
        <p:spPr>
          <a:xfrm>
            <a:off x="0" y="0"/>
            <a:ext cx="12272311" cy="6858000"/>
          </a:xfrm>
          <a:prstGeom prst="rect">
            <a:avLst/>
          </a:prstGeom>
          <a:solidFill>
            <a:srgbClr val="000000">
              <a:alpha val="64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905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FCC25700-12A9-AE4A-95F5-E6E288CC601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512C46-3197-6941-9BF3-EE1DC2FE2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5" y="188385"/>
            <a:ext cx="11514911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74BB5F2-D37D-5841-A4B4-5E6352B6D1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5" y="1136258"/>
            <a:ext cx="11523133" cy="33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900" b="1" noProof="0" dirty="0" smtClea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spcBef>
                <a:spcPts val="0"/>
              </a:spcBef>
              <a:buFont typeface="Arial" pitchFamily="34" charset="0"/>
            </a:pPr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634372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Quote 1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60A4D46-C3F5-78C5-C189-23A531804D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-88"/>
          <a:stretch/>
        </p:blipFill>
        <p:spPr>
          <a:xfrm>
            <a:off x="-60961" y="-68753"/>
            <a:ext cx="12313921" cy="696121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13ADB47-7543-D24F-AC77-5CFFCB6C7C3C}"/>
              </a:ext>
            </a:extLst>
          </p:cNvPr>
          <p:cNvSpPr/>
          <p:nvPr userDrawn="1"/>
        </p:nvSpPr>
        <p:spPr>
          <a:xfrm>
            <a:off x="-19351" y="34461"/>
            <a:ext cx="12272311" cy="6858000"/>
          </a:xfrm>
          <a:prstGeom prst="rect">
            <a:avLst/>
          </a:prstGeom>
          <a:solidFill>
            <a:srgbClr val="000000">
              <a:alpha val="53725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905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FCC25700-12A9-AE4A-95F5-E6E288CC60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512C46-3197-6941-9BF3-EE1DC2FE2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5" y="188385"/>
            <a:ext cx="11514911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74BB5F2-D37D-5841-A4B4-5E6352B6D1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5" y="1136258"/>
            <a:ext cx="11523133" cy="33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900" b="1" noProof="0" dirty="0" smtClea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spcBef>
                <a:spcPts val="0"/>
              </a:spcBef>
              <a:buFont typeface="Arial" pitchFamily="34" charset="0"/>
            </a:pPr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33365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917325"/>
            <a:ext cx="10944224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9858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Quote 1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1CFE02F-4043-7F4C-8CB6-C219B3E46B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13ADB47-7543-D24F-AC77-5CFFCB6C7C3C}"/>
              </a:ext>
            </a:extLst>
          </p:cNvPr>
          <p:cNvSpPr/>
          <p:nvPr userDrawn="1"/>
        </p:nvSpPr>
        <p:spPr>
          <a:xfrm>
            <a:off x="1" y="0"/>
            <a:ext cx="12192001" cy="6858000"/>
          </a:xfrm>
          <a:prstGeom prst="rect">
            <a:avLst/>
          </a:prstGeom>
          <a:solidFill>
            <a:srgbClr val="000000">
              <a:alpha val="53725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905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FCC25700-12A9-AE4A-95F5-E6E288CC601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512C46-3197-6941-9BF3-EE1DC2FE2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5" y="188385"/>
            <a:ext cx="11514911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74BB5F2-D37D-5841-A4B4-5E6352B6D1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5" y="1136258"/>
            <a:ext cx="11523133" cy="33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900" b="1" noProof="0" dirty="0" smtClea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spcBef>
                <a:spcPts val="0"/>
              </a:spcBef>
              <a:buFont typeface="Arial" pitchFamily="34" charset="0"/>
            </a:pPr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472175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dient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46D3151-25A0-4DAA-932E-25B89A75A3A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0EAEC6-A20E-40E6-BA0D-8C1A63780B40}"/>
              </a:ext>
            </a:extLst>
          </p:cNvPr>
          <p:cNvSpPr/>
          <p:nvPr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10572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F9DC38-BF2B-4966-BEBE-6429588447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3E03B79-5187-4781-8B46-50077B0460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806C49-1226-4067-BF64-EBDCCB1EEFAB}"/>
              </a:ext>
            </a:extLst>
          </p:cNvPr>
          <p:cNvSpPr/>
          <p:nvPr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31668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&amp;W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394366-1508-46B8-B9A5-C96D997DD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177"/>
            <a:ext cx="12192000" cy="686235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18847CF-4482-4363-9381-3889ED48098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980A3CE-95C9-42C1-9954-2B73BAB3ABB3}"/>
              </a:ext>
            </a:extLst>
          </p:cNvPr>
          <p:cNvSpPr/>
          <p:nvPr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22949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&amp;W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508F7BC9-29DF-D230-126B-6CF303A07E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grayscl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18847CF-4482-4363-9381-3889ED48098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980A3CE-95C9-42C1-9954-2B73BAB3ABB3}"/>
              </a:ext>
            </a:extLst>
          </p:cNvPr>
          <p:cNvSpPr/>
          <p:nvPr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9897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&amp;W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99AD10B2-5918-776E-8376-5C2F386F277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0" b="1510"/>
          <a:stretch/>
        </p:blipFill>
        <p:spPr bwMode="auto">
          <a:xfrm>
            <a:off x="1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18847CF-4482-4363-9381-3889ED480985}"/>
              </a:ext>
            </a:extLst>
          </p:cNvPr>
          <p:cNvSpPr/>
          <p:nvPr userDrawn="1"/>
        </p:nvSpPr>
        <p:spPr>
          <a:xfrm>
            <a:off x="198782" y="654049"/>
            <a:ext cx="12192000" cy="6858001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980A3CE-95C9-42C1-9954-2B73BAB3ABB3}"/>
              </a:ext>
            </a:extLst>
          </p:cNvPr>
          <p:cNvSpPr/>
          <p:nvPr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70474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">
            <a:extLst>
              <a:ext uri="{FF2B5EF4-FFF2-40B4-BE49-F238E27FC236}">
                <a16:creationId xmlns:a16="http://schemas.microsoft.com/office/drawing/2014/main" id="{DB5CE587-00E6-4AED-B8A6-DEB034F4A77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-2" y="0"/>
            <a:ext cx="12191999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A268BF61-BD91-4208-95EA-8BEA5E58228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573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A84B023-9855-45DC-B913-517B6446B410}"/>
              </a:ext>
            </a:extLst>
          </p:cNvPr>
          <p:cNvSpPr/>
          <p:nvPr/>
        </p:nvSpPr>
        <p:spPr>
          <a:xfrm>
            <a:off x="4760536" y="0"/>
            <a:ext cx="7431463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 err="1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gradFill>
                  <a:gsLst>
                    <a:gs pos="0">
                      <a:schemeClr val="accent2"/>
                    </a:gs>
                    <a:gs pos="86000">
                      <a:schemeClr val="accent1"/>
                    </a:gs>
                  </a:gsLst>
                  <a:lin ang="2700000" scaled="0"/>
                </a:gra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29" name="Graphic 22">
            <a:extLst>
              <a:ext uri="{FF2B5EF4-FFF2-40B4-BE49-F238E27FC236}">
                <a16:creationId xmlns:a16="http://schemas.microsoft.com/office/drawing/2014/main" id="{9498E08C-AD5C-4695-A985-4D3952C32D1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185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">
            <a:extLst>
              <a:ext uri="{FF2B5EF4-FFF2-40B4-BE49-F238E27FC236}">
                <a16:creationId xmlns:a16="http://schemas.microsoft.com/office/drawing/2014/main" id="{34B79FDB-9C8B-4118-B598-85B0C817C07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-2" y="0"/>
            <a:ext cx="12191999" cy="685800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001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884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A44BD718-C874-4D66-B650-3D63B5459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95D67AEE-74D2-439C-AB83-0F4DCBB8C6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9983C4-1894-404D-9151-2075CE8B1B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tx1"/>
                </a:solidFill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defRPr lang="en-US" smtClean="0">
                <a:solidFill>
                  <a:schemeClr val="tx1"/>
                </a:solidFill>
              </a:defRPr>
            </a:lvl3pPr>
            <a:lvl4pPr>
              <a:defRPr lang="en-US" smtClean="0">
                <a:solidFill>
                  <a:schemeClr val="tx1"/>
                </a:solidFill>
              </a:defRPr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CA45538-2866-4849-9EF8-4D027EF18AE0}"/>
              </a:ext>
            </a:extLst>
          </p:cNvPr>
          <p:cNvSpPr/>
          <p:nvPr userDrawn="1"/>
        </p:nvSpPr>
        <p:spPr>
          <a:xfrm>
            <a:off x="5915025" y="6420979"/>
            <a:ext cx="314325" cy="22039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959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dient Divider &amp;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B9B755C-A813-4478-97D8-221419C0CB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A29147A-E282-4A23-A176-9828642E383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FD5246D4-8081-4C33-86D4-DEC6CD69B1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327E93BC-0553-4656-BB86-58CD3A78CE0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34716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&amp;W divider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89C769-06F4-4C3D-8FA7-7FBD87554F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177"/>
            <a:ext cx="12192000" cy="686235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C133AB-4ED4-4A84-A2B5-1FC5F934F56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FD5246D4-8081-4C33-86D4-DEC6CD69B1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327E93BC-0553-4656-BB86-58CD3A78CE0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174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Divi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5B81D735-5959-4BE7-B602-2415CB7572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582752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2561BC8E-BFFD-4037-BA1A-2F1F68F79F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697062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2AD501A-AD9B-422F-BC38-A8D4766F990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B1F17EE-6AB9-4C97-B107-6061ADD798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118170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917325"/>
            <a:ext cx="10944224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E4EB6C-3D5C-4105-8C49-7F9DE26BA9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628775"/>
            <a:ext cx="10944225" cy="42100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lnSpc>
                <a:spcPct val="130000"/>
              </a:lnSpc>
              <a:spcAft>
                <a:spcPts val="300"/>
              </a:spcAft>
              <a:defRPr>
                <a:latin typeface="+mn-lt"/>
              </a:defRPr>
            </a:lvl4pPr>
            <a:lvl5pPr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  <a:buSzPct val="60000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0879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917325"/>
            <a:ext cx="10944224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9266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A44BD718-C874-4D66-B650-3D63B5459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95D67AEE-74D2-439C-AB83-0F4DCBB8C6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9983C4-1894-404D-9151-2075CE8B1B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fr-FR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CA45538-2866-4849-9EF8-4D027EF18AE0}"/>
              </a:ext>
            </a:extLst>
          </p:cNvPr>
          <p:cNvSpPr/>
          <p:nvPr/>
        </p:nvSpPr>
        <p:spPr>
          <a:xfrm>
            <a:off x="5915025" y="6420979"/>
            <a:ext cx="314325" cy="22039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02361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6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095DA2FA-1741-4D2B-B08C-129D74074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DBD28D12-AA61-4AF0-ABD0-23697F04760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8E913D8-7CB3-4B88-AB38-30DDB1466C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fr-FR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BDC6C41-A688-4200-8681-92020677CC2C}"/>
              </a:ext>
            </a:extLst>
          </p:cNvPr>
          <p:cNvSpPr/>
          <p:nvPr/>
        </p:nvSpPr>
        <p:spPr>
          <a:xfrm>
            <a:off x="5915025" y="6420979"/>
            <a:ext cx="314325" cy="22039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42EC5DE7-3E80-4C68-890A-E3D664FBE1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3428993"/>
            <a:ext cx="6096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50834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42EC5DE7-3E80-4C68-890A-E3D664FBE1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3428993"/>
            <a:ext cx="3048000" cy="342900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Espace réservé pour une image  2">
            <a:extLst>
              <a:ext uri="{FF2B5EF4-FFF2-40B4-BE49-F238E27FC236}">
                <a16:creationId xmlns:a16="http://schemas.microsoft.com/office/drawing/2014/main" id="{E7605A3B-0179-473B-9CB6-CC5A493B96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44001" y="0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Espace réservé pour une image  2">
            <a:extLst>
              <a:ext uri="{FF2B5EF4-FFF2-40B4-BE49-F238E27FC236}">
                <a16:creationId xmlns:a16="http://schemas.microsoft.com/office/drawing/2014/main" id="{15060EE6-A355-453C-AA84-ABCFFCC6CA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4001" y="3428993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706603BD-449F-4146-BC92-4D9C5E9D7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raphic 22">
            <a:extLst>
              <a:ext uri="{FF2B5EF4-FFF2-40B4-BE49-F238E27FC236}">
                <a16:creationId xmlns:a16="http://schemas.microsoft.com/office/drawing/2014/main" id="{D3BCF6FE-1697-4B69-BF27-4D3C981A27D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9F7F2BB-4F6E-413F-8B6C-741A21A2D1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tx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fr-FR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842064-2458-4A44-8172-2E0038A01E4F}"/>
              </a:ext>
            </a:extLst>
          </p:cNvPr>
          <p:cNvSpPr/>
          <p:nvPr/>
        </p:nvSpPr>
        <p:spPr>
          <a:xfrm>
            <a:off x="5915025" y="6420979"/>
            <a:ext cx="314325" cy="22039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942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6000" cy="3428993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095DA2FA-1741-4D2B-B08C-129D74074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DBD28D12-AA61-4AF0-ABD0-23697F0476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8E913D8-7CB3-4B88-AB38-30DDB1466C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tx1"/>
                </a:solidFill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defRPr lang="en-US" smtClean="0">
                <a:solidFill>
                  <a:schemeClr val="tx1"/>
                </a:solidFill>
              </a:defRPr>
            </a:lvl3pPr>
            <a:lvl4pPr>
              <a:defRPr lang="en-US" smtClean="0">
                <a:solidFill>
                  <a:schemeClr val="tx1"/>
                </a:solidFill>
              </a:defRPr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BDC6C41-A688-4200-8681-92020677CC2C}"/>
              </a:ext>
            </a:extLst>
          </p:cNvPr>
          <p:cNvSpPr/>
          <p:nvPr userDrawn="1"/>
        </p:nvSpPr>
        <p:spPr>
          <a:xfrm>
            <a:off x="5915025" y="6420979"/>
            <a:ext cx="314325" cy="22039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42EC5DE7-3E80-4C68-890A-E3D664FBE1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3428993"/>
            <a:ext cx="6096000" cy="3428993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9174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text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BD8D428F-1999-4CD7-803A-0499EFBBC9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3732213"/>
            <a:ext cx="5021262" cy="19446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85373431-056A-4064-9619-EA69252277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0025" y="517101"/>
            <a:ext cx="5018088" cy="19431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598D7C8E-D578-4DD4-862C-7D2255F6F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8D0377-E092-44FD-9E10-2B55E4AC6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879600"/>
            <a:ext cx="5021262" cy="154939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D20D25-472D-4874-8F4C-9AD56601BB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2743200"/>
            <a:ext cx="5021262" cy="29337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fr-FR" sz="12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2508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s text Blu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7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s text Green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303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s text Blac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 marL="0" indent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320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CD9725D-EA1E-4B70-B6EC-DB2F0E4A81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7038" y="571500"/>
            <a:ext cx="8680450" cy="5734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Click to add image</a:t>
            </a:r>
            <a:endParaRPr lang="en-US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362D5DB-01A7-4F16-92C7-0A276E1D05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21699" y="1808163"/>
            <a:ext cx="3243171" cy="32416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288000" rIns="432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0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pPr lvl="0" defTabSz="519488">
              <a:lnSpc>
                <a:spcPct val="120000"/>
              </a:lnSpc>
            </a:pPr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6043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&amp; box Full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CD9725D-EA1E-4B70-B6EC-DB2F0E4A81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948829" cy="6857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362D5DB-01A7-4F16-92C7-0A276E1D05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48829" y="1"/>
            <a:ext cx="3243171" cy="68579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288000" rIns="432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0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pPr lvl="0" defTabSz="519488">
              <a:lnSpc>
                <a:spcPct val="120000"/>
              </a:lnSpc>
            </a:pPr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6" name="Graphic 22">
            <a:extLst>
              <a:ext uri="{FF2B5EF4-FFF2-40B4-BE49-F238E27FC236}">
                <a16:creationId xmlns:a16="http://schemas.microsoft.com/office/drawing/2014/main" id="{E58B5C9E-B015-4AC2-AB46-7A889B1EC4A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574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V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3BF210B-C9AE-45D8-9822-202661E8CF7D}"/>
              </a:ext>
            </a:extLst>
          </p:cNvPr>
          <p:cNvSpPr/>
          <p:nvPr/>
        </p:nvSpPr>
        <p:spPr>
          <a:xfrm>
            <a:off x="4760536" y="0"/>
            <a:ext cx="7431463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 err="1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B8B3202-7FDD-4BFB-A1D6-B9EB95658B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3563" y="658813"/>
            <a:ext cx="1036637" cy="1446212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7B660C6C-94BB-4C4F-8BD7-78DC86A9A0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888" y="712788"/>
            <a:ext cx="1096962" cy="1506537"/>
          </a:xfrm>
          <a:prstGeom prst="rect">
            <a:avLst/>
          </a:prstGeom>
          <a:effectLst>
            <a:outerShdw blurRad="127000" dist="292100" dir="5400000" sx="82000" sy="82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4" name="Connecteur droit 25">
            <a:extLst>
              <a:ext uri="{FF2B5EF4-FFF2-40B4-BE49-F238E27FC236}">
                <a16:creationId xmlns:a16="http://schemas.microsoft.com/office/drawing/2014/main" id="{9E1496CB-D8FA-4ACD-801C-EAF51068845F}"/>
              </a:ext>
            </a:extLst>
          </p:cNvPr>
          <p:cNvCxnSpPr>
            <a:cxnSpLocks/>
          </p:cNvCxnSpPr>
          <p:nvPr/>
        </p:nvCxnSpPr>
        <p:spPr>
          <a:xfrm>
            <a:off x="2084801" y="1538793"/>
            <a:ext cx="385349" cy="0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2E94EC5A-C7D4-45A5-9121-6C36CD281C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84801" y="773881"/>
            <a:ext cx="2518949" cy="354625"/>
          </a:xfrm>
        </p:spPr>
        <p:txBody>
          <a:bodyPr/>
          <a:lstStyle>
            <a:lvl1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2050" b="1" kern="1200" dirty="0" smtClean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Surname Nam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4463C654-A8B9-4319-BAED-25C596A00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84801" y="1078812"/>
            <a:ext cx="2518949" cy="309138"/>
          </a:xfrm>
        </p:spPr>
        <p:txBody>
          <a:bodyPr anchor="ctr" anchorCtr="0"/>
          <a:lstStyle>
            <a:lvl1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1400" b="0" kern="1200" dirty="0" smtClean="0">
                <a:solidFill>
                  <a:schemeClr val="bg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29" name="TextBox 12">
            <a:extLst>
              <a:ext uri="{FF2B5EF4-FFF2-40B4-BE49-F238E27FC236}">
                <a16:creationId xmlns:a16="http://schemas.microsoft.com/office/drawing/2014/main" id="{0FD67E22-99F3-4712-A3D6-7BE37163E479}"/>
              </a:ext>
            </a:extLst>
          </p:cNvPr>
          <p:cNvSpPr txBox="1"/>
          <p:nvPr/>
        </p:nvSpPr>
        <p:spPr>
          <a:xfrm>
            <a:off x="623888" y="4702088"/>
            <a:ext cx="1405661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accent2"/>
                </a:solidFill>
                <a:latin typeface="+mj-lt"/>
              </a:rPr>
              <a:t>Industries</a:t>
            </a:r>
          </a:p>
        </p:txBody>
      </p:sp>
      <p:sp>
        <p:nvSpPr>
          <p:cNvPr id="30" name="TextBox 12">
            <a:extLst>
              <a:ext uri="{FF2B5EF4-FFF2-40B4-BE49-F238E27FC236}">
                <a16:creationId xmlns:a16="http://schemas.microsoft.com/office/drawing/2014/main" id="{EA8283F1-A873-4B62-AD0B-481D0E0A5A26}"/>
              </a:ext>
            </a:extLst>
          </p:cNvPr>
          <p:cNvSpPr txBox="1"/>
          <p:nvPr/>
        </p:nvSpPr>
        <p:spPr>
          <a:xfrm>
            <a:off x="623888" y="2861508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accent2"/>
                </a:solidFill>
                <a:latin typeface="+mj-lt"/>
              </a:rPr>
              <a:t>Education / Certificates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E62694EE-2775-4821-892A-C6D03DCFB2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284" y="3341418"/>
            <a:ext cx="3979466" cy="862834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E7A7F482-CE0D-405F-9290-0D3C227562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284" y="5162163"/>
            <a:ext cx="1691533" cy="1159123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6" name="Graphic 22">
            <a:extLst>
              <a:ext uri="{FF2B5EF4-FFF2-40B4-BE49-F238E27FC236}">
                <a16:creationId xmlns:a16="http://schemas.microsoft.com/office/drawing/2014/main" id="{731658BC-D048-4322-A27A-774D1DE3FC0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37" name="TextBox 12">
            <a:extLst>
              <a:ext uri="{FF2B5EF4-FFF2-40B4-BE49-F238E27FC236}">
                <a16:creationId xmlns:a16="http://schemas.microsoft.com/office/drawing/2014/main" id="{E841F9B0-277D-4BC5-9B0A-78550E2A4253}"/>
              </a:ext>
            </a:extLst>
          </p:cNvPr>
          <p:cNvSpPr txBox="1"/>
          <p:nvPr/>
        </p:nvSpPr>
        <p:spPr>
          <a:xfrm>
            <a:off x="5220654" y="715619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tx2"/>
                </a:solidFill>
                <a:latin typeface="+mj-lt"/>
              </a:rPr>
              <a:t>Professional Focus</a:t>
            </a:r>
          </a:p>
        </p:txBody>
      </p:sp>
      <p:sp>
        <p:nvSpPr>
          <p:cNvPr id="38" name="TextBox 12">
            <a:extLst>
              <a:ext uri="{FF2B5EF4-FFF2-40B4-BE49-F238E27FC236}">
                <a16:creationId xmlns:a16="http://schemas.microsoft.com/office/drawing/2014/main" id="{71C4EA98-E57E-4655-A758-0925C98813E0}"/>
              </a:ext>
            </a:extLst>
          </p:cNvPr>
          <p:cNvSpPr txBox="1"/>
          <p:nvPr/>
        </p:nvSpPr>
        <p:spPr>
          <a:xfrm>
            <a:off x="8954353" y="715619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tx2"/>
                </a:solidFill>
                <a:latin typeface="+mj-lt"/>
              </a:rPr>
              <a:t>Relevant Experience</a:t>
            </a:r>
          </a:p>
        </p:txBody>
      </p:sp>
      <p:sp>
        <p:nvSpPr>
          <p:cNvPr id="43" name="TextBox 12">
            <a:extLst>
              <a:ext uri="{FF2B5EF4-FFF2-40B4-BE49-F238E27FC236}">
                <a16:creationId xmlns:a16="http://schemas.microsoft.com/office/drawing/2014/main" id="{41B4B6B6-B505-479B-893F-5B218DA0B87E}"/>
              </a:ext>
            </a:extLst>
          </p:cNvPr>
          <p:cNvSpPr txBox="1"/>
          <p:nvPr/>
        </p:nvSpPr>
        <p:spPr>
          <a:xfrm>
            <a:off x="5220654" y="3866725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tx2"/>
                </a:solidFill>
                <a:latin typeface="+mj-lt"/>
              </a:rPr>
              <a:t>Professional Background</a:t>
            </a:r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67C1B427-A3B0-4BD9-85FD-12598864DEF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20654" y="1197358"/>
            <a:ext cx="2929433" cy="2639146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3F9EC9EE-292D-4A28-BEE4-DFC6642AC1E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75756" y="1197358"/>
            <a:ext cx="2592357" cy="5123928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576FFAA8-1AD9-49A4-BE50-1BC5C44A295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20654" y="4225613"/>
            <a:ext cx="2929433" cy="2095673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12">
            <a:extLst>
              <a:ext uri="{FF2B5EF4-FFF2-40B4-BE49-F238E27FC236}">
                <a16:creationId xmlns:a16="http://schemas.microsoft.com/office/drawing/2014/main" id="{E6CBF8F9-E2DA-432D-B816-9CFB6968EA92}"/>
              </a:ext>
            </a:extLst>
          </p:cNvPr>
          <p:cNvSpPr txBox="1"/>
          <p:nvPr/>
        </p:nvSpPr>
        <p:spPr>
          <a:xfrm>
            <a:off x="2690045" y="4702088"/>
            <a:ext cx="1405661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accent2"/>
                </a:solidFill>
                <a:latin typeface="+mj-lt"/>
              </a:rPr>
              <a:t>Languages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21A44DB-C707-4C6D-A67A-C2CC824034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90044" y="5162163"/>
            <a:ext cx="1865779" cy="1159123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18E36B0-CAF1-4A62-9EF3-AF35E353B6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84801" y="1634894"/>
            <a:ext cx="2518949" cy="862834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 kumimoji="0" lang="en-US" altLang="zh-M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kumimoji="0" lang="en-GB" altLang="zh-M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BearingPoint Address</a:t>
            </a:r>
          </a:p>
        </p:txBody>
      </p:sp>
    </p:spTree>
    <p:extLst>
      <p:ext uri="{BB962C8B-B14F-4D97-AF65-F5344CB8AC3E}">
        <p14:creationId xmlns:p14="http://schemas.microsoft.com/office/powerpoint/2010/main" val="1893792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921B6F65-DC7E-4564-B0B1-327BED38BC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97DDF472-E24C-4F1C-A0D3-A1A5647EE7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2" name="Graphic 22">
            <a:extLst>
              <a:ext uri="{FF2B5EF4-FFF2-40B4-BE49-F238E27FC236}">
                <a16:creationId xmlns:a16="http://schemas.microsoft.com/office/drawing/2014/main" id="{7ABCD871-88F8-4F4D-AF5B-FC4472490A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28" name="Image 9">
            <a:extLst>
              <a:ext uri="{FF2B5EF4-FFF2-40B4-BE49-F238E27FC236}">
                <a16:creationId xmlns:a16="http://schemas.microsoft.com/office/drawing/2014/main" id="{4E4B90D4-8E8A-4EA4-8F60-DCC3391CF43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3534" y="1971480"/>
            <a:ext cx="6278252" cy="3687064"/>
          </a:xfrm>
          <a:prstGeom prst="rect">
            <a:avLst/>
          </a:prstGeom>
        </p:spPr>
      </p:pic>
      <p:sp>
        <p:nvSpPr>
          <p:cNvPr id="29" name="Espace réservé pour une image  2">
            <a:extLst>
              <a:ext uri="{FF2B5EF4-FFF2-40B4-BE49-F238E27FC236}">
                <a16:creationId xmlns:a16="http://schemas.microsoft.com/office/drawing/2014/main" id="{4589F180-D102-42EB-B282-FCC03EB535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07931" y="2231230"/>
            <a:ext cx="4731544" cy="295989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33910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t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97555282-95F1-4C07-954C-4168E28D8C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001DBB0E-39EE-41B6-B341-E9B509DE23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0" name="Graphic 22">
            <a:extLst>
              <a:ext uri="{FF2B5EF4-FFF2-40B4-BE49-F238E27FC236}">
                <a16:creationId xmlns:a16="http://schemas.microsoft.com/office/drawing/2014/main" id="{A0017530-C44F-43F2-AE0E-E6763B05785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20" name="Image 10">
            <a:extLst>
              <a:ext uri="{FF2B5EF4-FFF2-40B4-BE49-F238E27FC236}">
                <a16:creationId xmlns:a16="http://schemas.microsoft.com/office/drawing/2014/main" id="{F357BF8C-457A-4EA8-A1A9-4F132C632F5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0220" y="1468131"/>
            <a:ext cx="3304880" cy="4633312"/>
          </a:xfrm>
          <a:prstGeom prst="rect">
            <a:avLst/>
          </a:prstGeom>
        </p:spPr>
      </p:pic>
      <p:sp>
        <p:nvSpPr>
          <p:cNvPr id="21" name="Espace réservé pour une image  2">
            <a:extLst>
              <a:ext uri="{FF2B5EF4-FFF2-40B4-BE49-F238E27FC236}">
                <a16:creationId xmlns:a16="http://schemas.microsoft.com/office/drawing/2014/main" id="{99685A86-1D3B-41FD-B36F-85CC9192D9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83450" y="1928814"/>
            <a:ext cx="2774156" cy="37052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13253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phone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65CA6B81-4DD4-4D81-91C7-76E9370AF5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2" name="Graphic 22">
            <a:extLst>
              <a:ext uri="{FF2B5EF4-FFF2-40B4-BE49-F238E27FC236}">
                <a16:creationId xmlns:a16="http://schemas.microsoft.com/office/drawing/2014/main" id="{CF12F35B-4DF9-4EEA-ACB9-42F19C10685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31" name="Image 9">
            <a:extLst>
              <a:ext uri="{FF2B5EF4-FFF2-40B4-BE49-F238E27FC236}">
                <a16:creationId xmlns:a16="http://schemas.microsoft.com/office/drawing/2014/main" id="{4B7A52C0-350D-45D2-8DA6-237153D5635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5463" y="1560206"/>
            <a:ext cx="2434394" cy="4459594"/>
          </a:xfrm>
          <a:prstGeom prst="rect">
            <a:avLst/>
          </a:prstGeom>
        </p:spPr>
      </p:pic>
      <p:sp>
        <p:nvSpPr>
          <p:cNvPr id="32" name="Espace réservé pour une image  2">
            <a:extLst>
              <a:ext uri="{FF2B5EF4-FFF2-40B4-BE49-F238E27FC236}">
                <a16:creationId xmlns:a16="http://schemas.microsoft.com/office/drawing/2014/main" id="{2AD37720-83A9-48DD-9A80-31E2F97122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063" y="2147887"/>
            <a:ext cx="1862930" cy="329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03C65A44-B5D9-4B61-8951-86F1E2CAD3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80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orient="horz" pos="392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42EC5DE7-3E80-4C68-890A-E3D664FBE1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3428993"/>
            <a:ext cx="3048000" cy="3429007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3" name="Espace réservé pour une image  2">
            <a:extLst>
              <a:ext uri="{FF2B5EF4-FFF2-40B4-BE49-F238E27FC236}">
                <a16:creationId xmlns:a16="http://schemas.microsoft.com/office/drawing/2014/main" id="{E7605A3B-0179-473B-9CB6-CC5A493B96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44001" y="0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4" name="Espace réservé pour une image  2">
            <a:extLst>
              <a:ext uri="{FF2B5EF4-FFF2-40B4-BE49-F238E27FC236}">
                <a16:creationId xmlns:a16="http://schemas.microsoft.com/office/drawing/2014/main" id="{15060EE6-A355-453C-AA84-ABCFFCC6CA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4001" y="3428993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706603BD-449F-4146-BC92-4D9C5E9D7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9" name="Graphic 22">
            <a:extLst>
              <a:ext uri="{FF2B5EF4-FFF2-40B4-BE49-F238E27FC236}">
                <a16:creationId xmlns:a16="http://schemas.microsoft.com/office/drawing/2014/main" id="{D3BCF6FE-1697-4B69-BF27-4D3C981A27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9F7F2BB-4F6E-413F-8B6C-741A21A2D1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tx1"/>
                </a:solidFill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defRPr lang="en-US" smtClean="0">
                <a:solidFill>
                  <a:schemeClr val="tx1"/>
                </a:solidFill>
              </a:defRPr>
            </a:lvl3pPr>
            <a:lvl4pPr>
              <a:defRPr lang="en-US" smtClean="0">
                <a:solidFill>
                  <a:schemeClr val="tx1"/>
                </a:solidFill>
              </a:defRPr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842064-2458-4A44-8172-2E0038A01E4F}"/>
              </a:ext>
            </a:extLst>
          </p:cNvPr>
          <p:cNvSpPr/>
          <p:nvPr userDrawn="1"/>
        </p:nvSpPr>
        <p:spPr>
          <a:xfrm>
            <a:off x="5915025" y="6420979"/>
            <a:ext cx="314325" cy="22039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030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A829859B-BEDB-4EE6-8FBB-7FAA00ACD2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06532" y="1628775"/>
            <a:ext cx="5261580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895159-EF8E-483A-B23D-9F4D082BD5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1628775"/>
            <a:ext cx="5261580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82CFEC60-8A31-480A-B4C9-65A5C05FE13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7" y="917325"/>
            <a:ext cx="10944225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176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A829859B-BEDB-4EE6-8FBB-7FAA00ACD2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400035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895159-EF8E-483A-B23D-9F4D082BD5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Espace réservé pour une image  2">
            <a:extLst>
              <a:ext uri="{FF2B5EF4-FFF2-40B4-BE49-F238E27FC236}">
                <a16:creationId xmlns:a16="http://schemas.microsoft.com/office/drawing/2014/main" id="{6E638EAA-0D75-402D-A97B-CB436517B4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76182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F8DF4B3B-9680-4753-BD83-79F5EDD0BA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7" y="917325"/>
            <a:ext cx="10944225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3530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8249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07D9528-80EA-01A2-FA7C-3888ACD07F92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DE" sz="1400" err="1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556A755-692E-E968-046D-46C9B3DAEA83}"/>
              </a:ext>
            </a:extLst>
          </p:cNvPr>
          <p:cNvSpPr/>
          <p:nvPr userDrawn="1"/>
        </p:nvSpPr>
        <p:spPr>
          <a:xfrm>
            <a:off x="0" y="0"/>
            <a:ext cx="12192000" cy="139192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DE" sz="1400" err="1">
              <a:solidFill>
                <a:schemeClr val="tx1"/>
              </a:solidFill>
            </a:endParaRPr>
          </a:p>
        </p:txBody>
      </p:sp>
      <p:pic>
        <p:nvPicPr>
          <p:cNvPr id="5" name="Graphic 22">
            <a:extLst>
              <a:ext uri="{FF2B5EF4-FFF2-40B4-BE49-F238E27FC236}">
                <a16:creationId xmlns:a16="http://schemas.microsoft.com/office/drawing/2014/main" id="{BB479D2A-AD7D-343F-EF29-C394DC92BE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393862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38521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&amp; pictur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FF6C77F-EEBB-4E11-8B84-7B1F8ED711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012" y="0"/>
            <a:ext cx="12198024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432C314-FC93-4C1B-811E-057CEB8F6131}"/>
              </a:ext>
            </a:extLst>
          </p:cNvPr>
          <p:cNvSpPr/>
          <p:nvPr/>
        </p:nvSpPr>
        <p:spPr>
          <a:xfrm>
            <a:off x="0" y="0"/>
            <a:ext cx="12191998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4BBDCF5-C556-4BA9-A4E7-5A71DF5CCD5E}"/>
              </a:ext>
            </a:extLst>
          </p:cNvPr>
          <p:cNvSpPr/>
          <p:nvPr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chemeClr val="accent2">
                  <a:alpha val="90000"/>
                </a:schemeClr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412049113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B&amp;W &amp; picture - cen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FF6C77F-EEBB-4E11-8B84-7B1F8ED711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012" y="0"/>
            <a:ext cx="12198024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432C314-FC93-4C1B-811E-057CEB8F6131}"/>
              </a:ext>
            </a:extLst>
          </p:cNvPr>
          <p:cNvSpPr/>
          <p:nvPr/>
        </p:nvSpPr>
        <p:spPr>
          <a:xfrm>
            <a:off x="0" y="0"/>
            <a:ext cx="12191998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388221193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 Blue - Cente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21BC571-7584-429D-ACA0-4CE6A223D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204332074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een -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94105384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ts val="5400"/>
              </a:lnSpc>
              <a:defRPr lang="en-US" sz="4800" b="1" dirty="0" smtClean="0">
                <a:gradFill>
                  <a:gsLst>
                    <a:gs pos="0">
                      <a:schemeClr val="accent2"/>
                    </a:gs>
                    <a:gs pos="86000">
                      <a:schemeClr val="accent1"/>
                    </a:gs>
                  </a:gsLst>
                  <a:lin ang="2700000" scaled="0"/>
                </a:gradFill>
                <a:latin typeface="+mn-lt"/>
                <a:cs typeface="+mn-cs"/>
              </a:defRPr>
            </a:lvl1pPr>
          </a:lstStyle>
          <a:p>
            <a:pPr lvl="0" defTabSz="457200">
              <a:lnSpc>
                <a:spcPct val="100000"/>
              </a:lnSpc>
              <a:spcAft>
                <a:spcPts val="0"/>
              </a:spcAft>
              <a:buFontTx/>
            </a:pPr>
            <a:r>
              <a:rPr lang="en-US"/>
              <a:t>Key message</a:t>
            </a:r>
          </a:p>
        </p:txBody>
      </p:sp>
      <p:pic>
        <p:nvPicPr>
          <p:cNvPr id="5" name="Graphic 22">
            <a:extLst>
              <a:ext uri="{FF2B5EF4-FFF2-40B4-BE49-F238E27FC236}">
                <a16:creationId xmlns:a16="http://schemas.microsoft.com/office/drawing/2014/main" id="{D0075C18-B716-43EA-9120-6F496F3109D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26625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- Cente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2AD501A-AD9B-422F-BC38-A8D4766F990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AADEAE3-3EA8-428E-BCA2-61174AB8C3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35541192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text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BD8D428F-1999-4CD7-803A-0499EFBBC9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3732213"/>
            <a:ext cx="5021262" cy="1944687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85373431-056A-4064-9619-EA69252277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0025" y="517101"/>
            <a:ext cx="5018088" cy="19431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598D7C8E-D578-4DD4-862C-7D2255F6F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8D0377-E092-44FD-9E10-2B55E4AC6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879600"/>
            <a:ext cx="5021262" cy="154939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D20D25-472D-4874-8F4C-9AD56601BB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2743200"/>
            <a:ext cx="5021262" cy="29337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fr-FR" sz="12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7702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page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AE68CF5-BE35-41D8-987E-89EC643CF1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FE163525-35D9-46B1-A335-A0CC467781E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B6059E7-F239-4041-BFFD-1060300A5CA7}"/>
              </a:ext>
            </a:extLst>
          </p:cNvPr>
          <p:cNvSpPr/>
          <p:nvPr/>
        </p:nvSpPr>
        <p:spPr>
          <a:xfrm>
            <a:off x="8883382" y="-1"/>
            <a:ext cx="3308618" cy="3728019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11" name="Graphique 17">
            <a:extLst>
              <a:ext uri="{FF2B5EF4-FFF2-40B4-BE49-F238E27FC236}">
                <a16:creationId xmlns:a16="http://schemas.microsoft.com/office/drawing/2014/main" id="{66A1378D-6BAB-45C2-BF80-821EC686C99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09627" y="636997"/>
            <a:ext cx="170630" cy="170630"/>
          </a:xfrm>
          <a:prstGeom prst="rect">
            <a:avLst/>
          </a:prstGeom>
        </p:spPr>
      </p:pic>
      <p:pic>
        <p:nvPicPr>
          <p:cNvPr id="12" name="Graphique 18">
            <a:extLst>
              <a:ext uri="{FF2B5EF4-FFF2-40B4-BE49-F238E27FC236}">
                <a16:creationId xmlns:a16="http://schemas.microsoft.com/office/drawing/2014/main" id="{F49CD148-3EBF-497E-BF86-936A9643881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6372" y="1007841"/>
            <a:ext cx="189590" cy="145352"/>
          </a:xfrm>
          <a:prstGeom prst="rect">
            <a:avLst/>
          </a:prstGeom>
        </p:spPr>
      </p:pic>
      <p:cxnSp>
        <p:nvCxnSpPr>
          <p:cNvPr id="13" name="Connecteur droit 20">
            <a:extLst>
              <a:ext uri="{FF2B5EF4-FFF2-40B4-BE49-F238E27FC236}">
                <a16:creationId xmlns:a16="http://schemas.microsoft.com/office/drawing/2014/main" id="{1E8D30A6-86CE-4371-97C8-AC8C0C1B0743}"/>
              </a:ext>
            </a:extLst>
          </p:cNvPr>
          <p:cNvCxnSpPr>
            <a:cxnSpLocks/>
          </p:cNvCxnSpPr>
          <p:nvPr/>
        </p:nvCxnSpPr>
        <p:spPr>
          <a:xfrm>
            <a:off x="9316372" y="1696466"/>
            <a:ext cx="386160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A4A7E8-B058-4072-BBDE-74AADF8D7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8" y="2842865"/>
            <a:ext cx="6721475" cy="2136775"/>
          </a:xfrm>
          <a:noFill/>
        </p:spPr>
        <p:txBody>
          <a:bodyPr/>
          <a:lstStyle>
            <a:lvl1pPr>
              <a:defRPr sz="5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Espace réservé du texte 9">
            <a:extLst>
              <a:ext uri="{FF2B5EF4-FFF2-40B4-BE49-F238E27FC236}">
                <a16:creationId xmlns:a16="http://schemas.microsoft.com/office/drawing/2014/main" id="{5817E426-6146-4666-828B-226889FEA37C}"/>
              </a:ext>
            </a:extLst>
          </p:cNvPr>
          <p:cNvSpPr txBox="1">
            <a:spLocks/>
          </p:cNvSpPr>
          <p:nvPr/>
        </p:nvSpPr>
        <p:spPr>
          <a:xfrm>
            <a:off x="623888" y="6091570"/>
            <a:ext cx="1919685" cy="6235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457189" rtl="0" eaLnBrk="1" latinLnBrk="0" hangingPunct="1">
              <a:spcBef>
                <a:spcPts val="1200"/>
              </a:spcBef>
              <a:spcAft>
                <a:spcPts val="30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GB" sz="1400" b="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796" indent="-177796" algn="l" defTabSz="457189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lang="en-GB" sz="14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42" indent="-180970" algn="l" defTabSz="514338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alibri" pitchFamily="34" charset="0"/>
              <a:buChar char="−"/>
              <a:defRPr lang="en-GB" sz="14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61" indent="-161921" algn="l" defTabSz="457189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itchFamily="49" charset="0"/>
              <a:buChar char="o"/>
              <a:tabLst/>
              <a:defRPr lang="en-GB" sz="12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2780" indent="-165096" algn="l" defTabSz="457189" rtl="0" eaLnBrk="1" latinLnBrk="0" hangingPunct="1">
              <a:spcBef>
                <a:spcPts val="0"/>
              </a:spcBef>
              <a:buClr>
                <a:srgbClr val="D52B1E"/>
              </a:buClr>
              <a:buFont typeface="Calibri" pitchFamily="34" charset="0"/>
              <a:buChar char="-"/>
              <a:tabLst/>
              <a:defRPr lang="en-GB" sz="1100" kern="1200" noProof="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200">
                <a:solidFill>
                  <a:schemeClr val="bg1"/>
                </a:solidFill>
              </a:rPr>
              <a:t>www.bearingpoint.com</a:t>
            </a:r>
          </a:p>
        </p:txBody>
      </p:sp>
    </p:spTree>
    <p:extLst>
      <p:ext uri="{BB962C8B-B14F-4D97-AF65-F5344CB8AC3E}">
        <p14:creationId xmlns:p14="http://schemas.microsoft.com/office/powerpoint/2010/main" val="13685132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aringPoint Logo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E19149A-C143-40CA-9518-C5427B0C765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14" name="Graphic 22">
            <a:extLst>
              <a:ext uri="{FF2B5EF4-FFF2-40B4-BE49-F238E27FC236}">
                <a16:creationId xmlns:a16="http://schemas.microsoft.com/office/drawing/2014/main" id="{B0ABA653-F417-4416-82DD-01FB0CEE3D7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10025" y="3095149"/>
            <a:ext cx="4171950" cy="667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03743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ink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2561BC8E-BFFD-4037-BA1A-2F1F68F79F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492390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Message  Purple - Cente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21BC571-7584-429D-ACA0-4CE6A223D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96895971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Message Pink -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81855988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wo columns text 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379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wo columns text Pink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387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adient background &amp; Client logo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22">
            <a:extLst>
              <a:ext uri="{FF2B5EF4-FFF2-40B4-BE49-F238E27FC236}">
                <a16:creationId xmlns:a16="http://schemas.microsoft.com/office/drawing/2014/main" id="{B0ABA653-F417-4416-82DD-01FB0CEE3D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393862"/>
            <a:ext cx="1377040" cy="220391"/>
          </a:xfrm>
          <a:prstGeom prst="rect">
            <a:avLst/>
          </a:prstGeom>
        </p:spPr>
      </p:pic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9" y="609601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</p:spTree>
    <p:extLst>
      <p:ext uri="{BB962C8B-B14F-4D97-AF65-F5344CB8AC3E}">
        <p14:creationId xmlns:p14="http://schemas.microsoft.com/office/powerpoint/2010/main" val="281046992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Natur, Nachthimmel enthält.&#10;&#10;Automatisch generierte Beschreibung">
            <a:extLst>
              <a:ext uri="{FF2B5EF4-FFF2-40B4-BE49-F238E27FC236}">
                <a16:creationId xmlns:a16="http://schemas.microsoft.com/office/drawing/2014/main" id="{F1E47D55-3DF6-B756-9A91-BE2D02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pic>
        <p:nvPicPr>
          <p:cNvPr id="5" name="Graphic 22">
            <a:extLst>
              <a:ext uri="{FF2B5EF4-FFF2-40B4-BE49-F238E27FC236}">
                <a16:creationId xmlns:a16="http://schemas.microsoft.com/office/drawing/2014/main" id="{31CFAF19-4D82-6EA5-B2D5-3D56AA1533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BB3D3D59-402C-86E4-7EE1-A76A0BB9C2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Divider</a:t>
            </a:r>
            <a:br>
              <a:rPr lang="en-US" noProof="0"/>
            </a:br>
            <a:r>
              <a:rPr lang="en-U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71122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35" descr="A picture containing sky, outdoor, cloudy&#10;&#10;Description automatically generated">
            <a:extLst>
              <a:ext uri="{FF2B5EF4-FFF2-40B4-BE49-F238E27FC236}">
                <a16:creationId xmlns:a16="http://schemas.microsoft.com/office/drawing/2014/main" id="{211149C5-992B-1EE1-EDCA-4DA49AE413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337" y="433166"/>
            <a:ext cx="11617325" cy="6242050"/>
          </a:xfrm>
          <a:prstGeom prst="rect">
            <a:avLst/>
          </a:prstGeom>
        </p:spPr>
      </p:pic>
      <p:pic>
        <p:nvPicPr>
          <p:cNvPr id="5" name="Graphic 22">
            <a:extLst>
              <a:ext uri="{FF2B5EF4-FFF2-40B4-BE49-F238E27FC236}">
                <a16:creationId xmlns:a16="http://schemas.microsoft.com/office/drawing/2014/main" id="{31CFAF19-4D82-6EA5-B2D5-3D56AA1533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BB3D3D59-402C-86E4-7EE1-A76A0BB9C2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Divider</a:t>
            </a:r>
            <a:br>
              <a:rPr lang="en-US" noProof="0"/>
            </a:br>
            <a:r>
              <a:rPr lang="en-U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616867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text Blu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0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46799DA4-5610-4B43-2012-77B28C653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phic 22">
            <a:extLst>
              <a:ext uri="{FF2B5EF4-FFF2-40B4-BE49-F238E27FC236}">
                <a16:creationId xmlns:a16="http://schemas.microsoft.com/office/drawing/2014/main" id="{31CFAF19-4D82-6EA5-B2D5-3D56AA1533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BB3D3D59-402C-86E4-7EE1-A76A0BB9C2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Divider</a:t>
            </a:r>
            <a:br>
              <a:rPr lang="en-US" noProof="0"/>
            </a:br>
            <a:r>
              <a:rPr lang="en-U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9717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An open road heading to the mountains">
            <a:extLst>
              <a:ext uri="{FF2B5EF4-FFF2-40B4-BE49-F238E27FC236}">
                <a16:creationId xmlns:a16="http://schemas.microsoft.com/office/drawing/2014/main" id="{28C20C01-B501-0D71-B77B-D408AE38D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5234" y="-1"/>
            <a:ext cx="12864064" cy="6858001"/>
          </a:xfrm>
          <a:prstGeom prst="rect">
            <a:avLst/>
          </a:prstGeom>
        </p:spPr>
      </p:pic>
      <p:pic>
        <p:nvPicPr>
          <p:cNvPr id="5" name="Graphic 22">
            <a:extLst>
              <a:ext uri="{FF2B5EF4-FFF2-40B4-BE49-F238E27FC236}">
                <a16:creationId xmlns:a16="http://schemas.microsoft.com/office/drawing/2014/main" id="{31CFAF19-4D82-6EA5-B2D5-3D56AA1533F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BB3D3D59-402C-86E4-7EE1-A76A0BB9C2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Divider</a:t>
            </a:r>
            <a:br>
              <a:rPr lang="en-US" noProof="0"/>
            </a:br>
            <a:r>
              <a:rPr lang="en-U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42706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Text, Unschärfe, Autobahn enthält.&#10;&#10;Automatisch generierte Beschreibung">
            <a:extLst>
              <a:ext uri="{FF2B5EF4-FFF2-40B4-BE49-F238E27FC236}">
                <a16:creationId xmlns:a16="http://schemas.microsoft.com/office/drawing/2014/main" id="{50481177-C29F-A36A-2906-8C8A2BE213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grayscl/>
          </a:blip>
          <a:srcRect l="5224" r="146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87918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0481177-C29F-A36A-2906-8C8A2BE213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69" r="144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38571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An open road heading to the mountains">
            <a:extLst>
              <a:ext uri="{FF2B5EF4-FFF2-40B4-BE49-F238E27FC236}">
                <a16:creationId xmlns:a16="http://schemas.microsoft.com/office/drawing/2014/main" id="{F19D358F-0F23-29BC-7662-C412BC724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12" r="26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22" imgH="623" progId="TCLayout.ActiveDocument.1">
                  <p:embed/>
                </p:oleObj>
              </mc:Choice>
              <mc:Fallback>
                <p:oleObj name="think-cell Folie" r:id="rId5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42009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Frankfurt Sehenswürdigkeiten entdecken | momondo">
            <a:extLst>
              <a:ext uri="{FF2B5EF4-FFF2-40B4-BE49-F238E27FC236}">
                <a16:creationId xmlns:a16="http://schemas.microsoft.com/office/drawing/2014/main" id="{F376AE55-352F-6D23-A3B2-B50D960F656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938" r="763" b="6372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22" imgH="623" progId="TCLayout.ActiveDocument.1">
                  <p:embed/>
                </p:oleObj>
              </mc:Choice>
              <mc:Fallback>
                <p:oleObj name="think-cell Folie" r:id="rId5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60920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F376AE55-352F-6D23-A3B2-B50D960F65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707" b="7707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22" imgH="623" progId="TCLayout.ActiveDocument.1">
                  <p:embed/>
                </p:oleObj>
              </mc:Choice>
              <mc:Fallback>
                <p:oleObj name="think-cell Folie" r:id="rId5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-4512" y="0"/>
            <a:ext cx="12196512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11344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Moderne Banking-Ökosysteme vereinen Vorteile von Banken und Fintechs |  BankingHub">
            <a:extLst>
              <a:ext uri="{FF2B5EF4-FFF2-40B4-BE49-F238E27FC236}">
                <a16:creationId xmlns:a16="http://schemas.microsoft.com/office/drawing/2014/main" id="{C761CB5B-D896-6F65-28E5-B798CB7E518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300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22" imgH="623" progId="TCLayout.ActiveDocument.1">
                  <p:embed/>
                </p:oleObj>
              </mc:Choice>
              <mc:Fallback>
                <p:oleObj name="think-cell Folie" r:id="rId5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10633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54767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Draufsicht auf einen Kalender mit einem roten Stift oben">
            <a:extLst>
              <a:ext uri="{FF2B5EF4-FFF2-40B4-BE49-F238E27FC236}">
                <a16:creationId xmlns:a16="http://schemas.microsoft.com/office/drawing/2014/main" id="{50481177-C29F-A36A-2906-8C8A2BE213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35" b="733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08111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ommerzbank investiert in 800 Geldautomaten von KEBA | KEBA">
            <a:extLst>
              <a:ext uri="{FF2B5EF4-FFF2-40B4-BE49-F238E27FC236}">
                <a16:creationId xmlns:a16="http://schemas.microsoft.com/office/drawing/2014/main" id="{8561010A-3DB8-0E3E-A7D0-DD63F37656D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259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94635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text Green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714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8561010A-3DB8-0E3E-A7D0-DD63F37656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7855" b="785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22" imgH="623" progId="TCLayout.ActiveDocument.1">
                  <p:embed/>
                </p:oleObj>
              </mc:Choice>
              <mc:Fallback>
                <p:oleObj name="think-cell Folie" r:id="rId5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-10633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73293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B8AF343A-C0D0-318E-8944-53B5CBD12D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grayscl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E398B9A-24B5-616F-2A29-C25D2066DBAA}"/>
              </a:ext>
            </a:extLst>
          </p:cNvPr>
          <p:cNvSpPr txBox="1"/>
          <p:nvPr userDrawn="1"/>
        </p:nvSpPr>
        <p:spPr>
          <a:xfrm>
            <a:off x="0" y="6858000"/>
            <a:ext cx="121920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900"/>
              <a:t>"</a:t>
            </a:r>
          </a:p>
        </p:txBody>
      </p:sp>
    </p:spTree>
    <p:extLst>
      <p:ext uri="{BB962C8B-B14F-4D97-AF65-F5344CB8AC3E}">
        <p14:creationId xmlns:p14="http://schemas.microsoft.com/office/powerpoint/2010/main" val="4138457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Mögliche Engpässe der Industrie: Commerzbank warnt vor Gas-Risiken |  tagesschau.de">
            <a:extLst>
              <a:ext uri="{FF2B5EF4-FFF2-40B4-BE49-F238E27FC236}">
                <a16:creationId xmlns:a16="http://schemas.microsoft.com/office/drawing/2014/main" id="{0E308F89-F230-D7DA-952F-40BDA8A014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22" imgH="623" progId="TCLayout.ActiveDocument.1">
                  <p:embed/>
                </p:oleObj>
              </mc:Choice>
              <mc:Fallback>
                <p:oleObj name="think-cell Folie" r:id="rId5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E398B9A-24B5-616F-2A29-C25D2066DBAA}"/>
              </a:ext>
            </a:extLst>
          </p:cNvPr>
          <p:cNvSpPr txBox="1"/>
          <p:nvPr userDrawn="1"/>
        </p:nvSpPr>
        <p:spPr>
          <a:xfrm>
            <a:off x="0" y="6858000"/>
            <a:ext cx="121920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900"/>
              <a:t>"</a:t>
            </a:r>
          </a:p>
        </p:txBody>
      </p:sp>
    </p:spTree>
    <p:extLst>
      <p:ext uri="{BB962C8B-B14F-4D97-AF65-F5344CB8AC3E}">
        <p14:creationId xmlns:p14="http://schemas.microsoft.com/office/powerpoint/2010/main" val="3445028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72541B8-2981-48DC-2D1D-8CB6F9042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t="4711" b="10881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3FFCF7-1283-43AC-A2EB-4D67F546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22" imgH="623" progId="TCLayout.ActiveDocument.1">
                  <p:embed/>
                </p:oleObj>
              </mc:Choice>
              <mc:Fallback>
                <p:oleObj name="think-cell Folie" r:id="rId5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3FFCF7-1283-43AC-A2EB-4D67F546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ontent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F36FE9-4877-46B2-B4CC-637970D796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86375" y="514351"/>
            <a:ext cx="6281738" cy="5829298"/>
          </a:xfrm>
        </p:spPr>
        <p:txBody>
          <a:bodyPr anchor="ctr"/>
          <a:lstStyle>
            <a:lvl1pPr>
              <a:defRPr kumimoji="0" lang="de-DE" sz="16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lang="en-US" noProof="0"/>
              <a:t>Mastertextformat bearbeiten</a:t>
            </a:r>
          </a:p>
          <a:p>
            <a:pPr lvl="1"/>
            <a:endParaRPr lang="en-US" noProof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E398B9A-24B5-616F-2A29-C25D2066DBAA}"/>
              </a:ext>
            </a:extLst>
          </p:cNvPr>
          <p:cNvSpPr txBox="1"/>
          <p:nvPr userDrawn="1"/>
        </p:nvSpPr>
        <p:spPr>
          <a:xfrm>
            <a:off x="0" y="6858000"/>
            <a:ext cx="121920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900"/>
              <a:t>"</a:t>
            </a:r>
          </a:p>
        </p:txBody>
      </p:sp>
    </p:spTree>
    <p:extLst>
      <p:ext uri="{BB962C8B-B14F-4D97-AF65-F5344CB8AC3E}">
        <p14:creationId xmlns:p14="http://schemas.microsoft.com/office/powerpoint/2010/main" val="1950430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gradient 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 3">
            <a:extLst>
              <a:ext uri="{FF2B5EF4-FFF2-40B4-BE49-F238E27FC236}">
                <a16:creationId xmlns:a16="http://schemas.microsoft.com/office/drawing/2014/main" id="{A7F39DC2-8806-462F-9865-4E5A84F0F3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9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52027" y="1087067"/>
            <a:ext cx="5945716" cy="1527968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5333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</a:t>
            </a:r>
          </a:p>
          <a:p>
            <a:endParaRPr lang="en-US" noProof="0"/>
          </a:p>
          <a:p>
            <a:endParaRPr lang="en-US" noProof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752027" y="3555331"/>
            <a:ext cx="5945716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pared by First name Surname, Job title / Prepared for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52029" y="3915329"/>
            <a:ext cx="594441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764522" y="4939229"/>
            <a:ext cx="2335333" cy="1336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ent/partner logo in whit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52028" y="2766470"/>
            <a:ext cx="5945715" cy="656341"/>
          </a:xfrm>
          <a:ln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en-US" sz="3733" smtClean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ts val="0"/>
              </a:spcBef>
              <a:buFontTx/>
            </a:pPr>
            <a:r>
              <a:rPr lang="en-US" noProof="0"/>
              <a:t>Subtitle</a:t>
            </a:r>
          </a:p>
        </p:txBody>
      </p:sp>
      <p:pic>
        <p:nvPicPr>
          <p:cNvPr id="14" name="Graphic 22">
            <a:extLst>
              <a:ext uri="{FF2B5EF4-FFF2-40B4-BE49-F238E27FC236}">
                <a16:creationId xmlns:a16="http://schemas.microsoft.com/office/drawing/2014/main" id="{29043D04-C455-489C-A4A9-3933933C0C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393860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89679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191D238-CB7A-4338-3362-68587A1658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01A51978-7CC4-DA35-2A60-F7455093E5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8188" y="2209397"/>
            <a:ext cx="2800981" cy="2726250"/>
          </a:xfrm>
          <a:custGeom>
            <a:avLst/>
            <a:gdLst>
              <a:gd name="connsiteX0" fmla="*/ 207350 w 4619065"/>
              <a:gd name="connsiteY0" fmla="*/ 0 h 4905557"/>
              <a:gd name="connsiteX1" fmla="*/ 4411715 w 4619065"/>
              <a:gd name="connsiteY1" fmla="*/ 0 h 4905557"/>
              <a:gd name="connsiteX2" fmla="*/ 4619065 w 4619065"/>
              <a:gd name="connsiteY2" fmla="*/ 207350 h 4905557"/>
              <a:gd name="connsiteX3" fmla="*/ 4619065 w 4619065"/>
              <a:gd name="connsiteY3" fmla="*/ 4698207 h 4905557"/>
              <a:gd name="connsiteX4" fmla="*/ 4411715 w 4619065"/>
              <a:gd name="connsiteY4" fmla="*/ 4905557 h 4905557"/>
              <a:gd name="connsiteX5" fmla="*/ 207350 w 4619065"/>
              <a:gd name="connsiteY5" fmla="*/ 4905557 h 4905557"/>
              <a:gd name="connsiteX6" fmla="*/ 0 w 4619065"/>
              <a:gd name="connsiteY6" fmla="*/ 4698207 h 4905557"/>
              <a:gd name="connsiteX7" fmla="*/ 0 w 4619065"/>
              <a:gd name="connsiteY7" fmla="*/ 207350 h 4905557"/>
              <a:gd name="connsiteX8" fmla="*/ 207350 w 4619065"/>
              <a:gd name="connsiteY8" fmla="*/ 0 h 4905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065" h="4905557">
                <a:moveTo>
                  <a:pt x="207350" y="0"/>
                </a:moveTo>
                <a:lnTo>
                  <a:pt x="4411715" y="0"/>
                </a:lnTo>
                <a:cubicBezTo>
                  <a:pt x="4526231" y="0"/>
                  <a:pt x="4619065" y="92834"/>
                  <a:pt x="4619065" y="207350"/>
                </a:cubicBezTo>
                <a:lnTo>
                  <a:pt x="4619065" y="4698207"/>
                </a:lnTo>
                <a:cubicBezTo>
                  <a:pt x="4619065" y="4812723"/>
                  <a:pt x="4526231" y="4905557"/>
                  <a:pt x="4411715" y="4905557"/>
                </a:cubicBezTo>
                <a:lnTo>
                  <a:pt x="207350" y="4905557"/>
                </a:lnTo>
                <a:cubicBezTo>
                  <a:pt x="92834" y="4905557"/>
                  <a:pt x="0" y="4812723"/>
                  <a:pt x="0" y="4698207"/>
                </a:cubicBezTo>
                <a:lnTo>
                  <a:pt x="0" y="207350"/>
                </a:lnTo>
                <a:cubicBezTo>
                  <a:pt x="0" y="92834"/>
                  <a:pt x="92834" y="0"/>
                  <a:pt x="207350" y="0"/>
                </a:cubicBezTo>
                <a:close/>
              </a:path>
            </a:pathLst>
          </a:custGeom>
          <a:solidFill>
            <a:schemeClr val="tx1">
              <a:alpha val="70000"/>
            </a:schemeClr>
          </a:solidFill>
          <a:ln>
            <a:solidFill>
              <a:schemeClr val="bg1"/>
            </a:solidFill>
          </a:ln>
        </p:spPr>
        <p:txBody>
          <a:bodyPr wrap="square" lIns="396000" tIns="864000" rIns="72000">
            <a:noAutofit/>
          </a:bodyPr>
          <a:lstStyle>
            <a:lvl1pPr marL="0" marR="0" indent="0" algn="l" defTabSz="914262" rtl="0" eaLnBrk="1" fontAlgn="auto" latinLnBrk="0" hangingPunct="1">
              <a:lnSpc>
                <a:spcPts val="194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13"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r>
              <a:rPr lang="en-IN">
                <a:effectLst/>
                <a:latin typeface="FS Albert Pro" panose="02000503040000020004" pitchFamily="2" charset="0"/>
              </a:rPr>
              <a:t>We’re a technology-enabled consulting business that empowers our colleagues to work towards a shared goal. We work on important and impactful projects that help </a:t>
            </a:r>
            <a:br>
              <a:rPr lang="en-IN">
                <a:effectLst/>
                <a:latin typeface="FS Albert Pro" panose="02000503040000020004" pitchFamily="2" charset="0"/>
              </a:rPr>
            </a:br>
            <a:r>
              <a:rPr lang="en-IN">
                <a:effectLst/>
                <a:latin typeface="FS Albert Pro" panose="02000503040000020004" pitchFamily="2" charset="0"/>
              </a:rPr>
              <a:t>us achieve lasting success – </a:t>
            </a:r>
            <a:br>
              <a:rPr lang="en-IN">
                <a:effectLst/>
                <a:latin typeface="FS Albert Pro" panose="02000503040000020004" pitchFamily="2" charset="0"/>
              </a:rPr>
            </a:br>
            <a:r>
              <a:rPr lang="en-IN">
                <a:effectLst/>
                <a:latin typeface="FS Albert Pro" panose="02000503040000020004" pitchFamily="2" charset="0"/>
              </a:rPr>
              <a:t>for our colleagues, our clients, </a:t>
            </a:r>
            <a:br>
              <a:rPr lang="en-IN">
                <a:effectLst/>
                <a:latin typeface="FS Albert Pro" panose="02000503040000020004" pitchFamily="2" charset="0"/>
              </a:rPr>
            </a:br>
            <a:r>
              <a:rPr lang="en-IN">
                <a:effectLst/>
                <a:latin typeface="FS Albert Pro" panose="02000503040000020004" pitchFamily="2" charset="0"/>
              </a:rPr>
              <a:t>the communities we serve and </a:t>
            </a:r>
            <a:br>
              <a:rPr lang="en-IN">
                <a:effectLst/>
                <a:latin typeface="FS Albert Pro" panose="02000503040000020004" pitchFamily="2" charset="0"/>
              </a:rPr>
            </a:br>
            <a:r>
              <a:rPr lang="en-IN">
                <a:effectLst/>
                <a:latin typeface="FS Albert Pro" panose="02000503040000020004" pitchFamily="2" charset="0"/>
              </a:rPr>
              <a:t>the planet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0D5251D-BD37-69DE-7E47-A8A116DF63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98188" y="2209397"/>
            <a:ext cx="2800981" cy="452500"/>
          </a:xfrm>
          <a:custGeom>
            <a:avLst/>
            <a:gdLst>
              <a:gd name="connsiteX0" fmla="*/ 198347 w 4619065"/>
              <a:gd name="connsiteY0" fmla="*/ 0 h 746311"/>
              <a:gd name="connsiteX1" fmla="*/ 4420718 w 4619065"/>
              <a:gd name="connsiteY1" fmla="*/ 0 h 746311"/>
              <a:gd name="connsiteX2" fmla="*/ 4619065 w 4619065"/>
              <a:gd name="connsiteY2" fmla="*/ 198347 h 746311"/>
              <a:gd name="connsiteX3" fmla="*/ 4619065 w 4619065"/>
              <a:gd name="connsiteY3" fmla="*/ 547964 h 746311"/>
              <a:gd name="connsiteX4" fmla="*/ 4420718 w 4619065"/>
              <a:gd name="connsiteY4" fmla="*/ 746311 h 746311"/>
              <a:gd name="connsiteX5" fmla="*/ 198347 w 4619065"/>
              <a:gd name="connsiteY5" fmla="*/ 746311 h 746311"/>
              <a:gd name="connsiteX6" fmla="*/ 0 w 4619065"/>
              <a:gd name="connsiteY6" fmla="*/ 547964 h 746311"/>
              <a:gd name="connsiteX7" fmla="*/ 0 w 4619065"/>
              <a:gd name="connsiteY7" fmla="*/ 198347 h 746311"/>
              <a:gd name="connsiteX8" fmla="*/ 198347 w 4619065"/>
              <a:gd name="connsiteY8" fmla="*/ 0 h 746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065" h="746311">
                <a:moveTo>
                  <a:pt x="198347" y="0"/>
                </a:moveTo>
                <a:lnTo>
                  <a:pt x="4420718" y="0"/>
                </a:lnTo>
                <a:cubicBezTo>
                  <a:pt x="4530262" y="0"/>
                  <a:pt x="4619065" y="88803"/>
                  <a:pt x="4619065" y="198347"/>
                </a:cubicBezTo>
                <a:lnTo>
                  <a:pt x="4619065" y="547964"/>
                </a:lnTo>
                <a:cubicBezTo>
                  <a:pt x="4619065" y="657508"/>
                  <a:pt x="4530262" y="746311"/>
                  <a:pt x="4420718" y="746311"/>
                </a:cubicBezTo>
                <a:lnTo>
                  <a:pt x="198347" y="746311"/>
                </a:lnTo>
                <a:cubicBezTo>
                  <a:pt x="88803" y="746311"/>
                  <a:pt x="0" y="657508"/>
                  <a:pt x="0" y="547964"/>
                </a:cubicBezTo>
                <a:lnTo>
                  <a:pt x="0" y="198347"/>
                </a:lnTo>
                <a:cubicBezTo>
                  <a:pt x="0" y="88803"/>
                  <a:pt x="88803" y="0"/>
                  <a:pt x="198347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lIns="396000" tIns="180000" anchor="t" anchorCtr="0">
            <a:noAutofit/>
          </a:bodyPr>
          <a:lstStyle>
            <a:lvl1pPr marL="85663" marR="0" indent="-85663" algn="l" defTabSz="914262" rtl="0" eaLnBrk="1" fontAlgn="auto" latinLnBrk="0" hangingPunct="1">
              <a:lnSpc>
                <a:spcPts val="1880"/>
              </a:lnSpc>
              <a:spcBef>
                <a:spcPts val="1213"/>
              </a:spcBef>
              <a:spcAft>
                <a:spcPts val="606"/>
              </a:spcAft>
              <a:buClrTx/>
              <a:buSzTx/>
              <a:buFont typeface="Arial" panose="020B0604020202020204" pitchFamily="34" charset="0"/>
              <a:buNone/>
              <a:tabLst/>
              <a:defRPr sz="1182" i="0"/>
            </a:lvl1pPr>
          </a:lstStyle>
          <a:p>
            <a:r>
              <a:rPr lang="en-IN" i="1">
                <a:effectLst/>
                <a:latin typeface="FS Albert Pro" panose="02000503040000020004" pitchFamily="2" charset="0"/>
              </a:rPr>
              <a:t>Click to edit Master text styles</a:t>
            </a:r>
          </a:p>
          <a:p>
            <a:endParaRPr lang="en-IN" i="1">
              <a:effectLst/>
              <a:latin typeface="FS Albert Pro" panose="02000503040000020004" pitchFamily="2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B4F01E-94D1-495E-BB91-4D94570DF7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C86C02-EA3C-DC44-8477-7E6CE3463213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752DC53-28F5-6D8B-6BB4-C7B79F202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255" y="1158881"/>
            <a:ext cx="5518226" cy="705884"/>
          </a:xfrm>
        </p:spPr>
        <p:txBody>
          <a:bodyPr/>
          <a:lstStyle>
            <a:lvl1pPr>
              <a:defRPr b="0">
                <a:latin typeface="BearingPoint Sans Cyrillic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8E4E85D5-8FF4-2372-CB9C-CEA6B69ACD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2307" y="2209397"/>
            <a:ext cx="2800981" cy="2726250"/>
          </a:xfrm>
          <a:custGeom>
            <a:avLst/>
            <a:gdLst>
              <a:gd name="connsiteX0" fmla="*/ 207350 w 4619065"/>
              <a:gd name="connsiteY0" fmla="*/ 0 h 4905557"/>
              <a:gd name="connsiteX1" fmla="*/ 4411715 w 4619065"/>
              <a:gd name="connsiteY1" fmla="*/ 0 h 4905557"/>
              <a:gd name="connsiteX2" fmla="*/ 4619065 w 4619065"/>
              <a:gd name="connsiteY2" fmla="*/ 207350 h 4905557"/>
              <a:gd name="connsiteX3" fmla="*/ 4619065 w 4619065"/>
              <a:gd name="connsiteY3" fmla="*/ 4698207 h 4905557"/>
              <a:gd name="connsiteX4" fmla="*/ 4411715 w 4619065"/>
              <a:gd name="connsiteY4" fmla="*/ 4905557 h 4905557"/>
              <a:gd name="connsiteX5" fmla="*/ 207350 w 4619065"/>
              <a:gd name="connsiteY5" fmla="*/ 4905557 h 4905557"/>
              <a:gd name="connsiteX6" fmla="*/ 0 w 4619065"/>
              <a:gd name="connsiteY6" fmla="*/ 4698207 h 4905557"/>
              <a:gd name="connsiteX7" fmla="*/ 0 w 4619065"/>
              <a:gd name="connsiteY7" fmla="*/ 207350 h 4905557"/>
              <a:gd name="connsiteX8" fmla="*/ 207350 w 4619065"/>
              <a:gd name="connsiteY8" fmla="*/ 0 h 4905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065" h="4905557">
                <a:moveTo>
                  <a:pt x="207350" y="0"/>
                </a:moveTo>
                <a:lnTo>
                  <a:pt x="4411715" y="0"/>
                </a:lnTo>
                <a:cubicBezTo>
                  <a:pt x="4526231" y="0"/>
                  <a:pt x="4619065" y="92834"/>
                  <a:pt x="4619065" y="207350"/>
                </a:cubicBezTo>
                <a:lnTo>
                  <a:pt x="4619065" y="4698207"/>
                </a:lnTo>
                <a:cubicBezTo>
                  <a:pt x="4619065" y="4812723"/>
                  <a:pt x="4526231" y="4905557"/>
                  <a:pt x="4411715" y="4905557"/>
                </a:cubicBezTo>
                <a:lnTo>
                  <a:pt x="207350" y="4905557"/>
                </a:lnTo>
                <a:cubicBezTo>
                  <a:pt x="92834" y="4905557"/>
                  <a:pt x="0" y="4812723"/>
                  <a:pt x="0" y="4698207"/>
                </a:cubicBezTo>
                <a:lnTo>
                  <a:pt x="0" y="207350"/>
                </a:lnTo>
                <a:cubicBezTo>
                  <a:pt x="0" y="92834"/>
                  <a:pt x="92834" y="0"/>
                  <a:pt x="207350" y="0"/>
                </a:cubicBezTo>
                <a:close/>
              </a:path>
            </a:pathLst>
          </a:custGeom>
          <a:solidFill>
            <a:schemeClr val="tx1">
              <a:alpha val="70000"/>
            </a:schemeClr>
          </a:solidFill>
          <a:ln>
            <a:solidFill>
              <a:schemeClr val="bg1"/>
            </a:solidFill>
          </a:ln>
        </p:spPr>
        <p:txBody>
          <a:bodyPr wrap="square" lIns="396000" tIns="864000" rIns="72000">
            <a:noAutofit/>
          </a:bodyPr>
          <a:lstStyle>
            <a:lvl1pPr marL="0" marR="0" indent="0" algn="l" defTabSz="914262" rtl="0" eaLnBrk="1" fontAlgn="auto" latinLnBrk="0" hangingPunct="1">
              <a:lnSpc>
                <a:spcPts val="194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13"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r>
              <a:rPr lang="en-IN">
                <a:effectLst/>
                <a:latin typeface="FS Albert Pro" panose="02000503040000020004" pitchFamily="2" charset="0"/>
              </a:rPr>
              <a:t>We’re a technology-enabled consulting business that empowers our colleagues to work towards a shared goal. We work on important and impactful projects that help </a:t>
            </a:r>
            <a:br>
              <a:rPr lang="en-IN">
                <a:effectLst/>
                <a:latin typeface="FS Albert Pro" panose="02000503040000020004" pitchFamily="2" charset="0"/>
              </a:rPr>
            </a:br>
            <a:r>
              <a:rPr lang="en-IN">
                <a:effectLst/>
                <a:latin typeface="FS Albert Pro" panose="02000503040000020004" pitchFamily="2" charset="0"/>
              </a:rPr>
              <a:t>us achieve lasting success – </a:t>
            </a:r>
            <a:br>
              <a:rPr lang="en-IN">
                <a:effectLst/>
                <a:latin typeface="FS Albert Pro" panose="02000503040000020004" pitchFamily="2" charset="0"/>
              </a:rPr>
            </a:br>
            <a:r>
              <a:rPr lang="en-IN">
                <a:effectLst/>
                <a:latin typeface="FS Albert Pro" panose="02000503040000020004" pitchFamily="2" charset="0"/>
              </a:rPr>
              <a:t>for our colleagues, our clients, </a:t>
            </a:r>
            <a:br>
              <a:rPr lang="en-IN">
                <a:effectLst/>
                <a:latin typeface="FS Albert Pro" panose="02000503040000020004" pitchFamily="2" charset="0"/>
              </a:rPr>
            </a:br>
            <a:r>
              <a:rPr lang="en-IN">
                <a:effectLst/>
                <a:latin typeface="FS Albert Pro" panose="02000503040000020004" pitchFamily="2" charset="0"/>
              </a:rPr>
              <a:t>the communities we serve and </a:t>
            </a:r>
            <a:br>
              <a:rPr lang="en-IN">
                <a:effectLst/>
                <a:latin typeface="FS Albert Pro" panose="02000503040000020004" pitchFamily="2" charset="0"/>
              </a:rPr>
            </a:br>
            <a:r>
              <a:rPr lang="en-IN">
                <a:effectLst/>
                <a:latin typeface="FS Albert Pro" panose="02000503040000020004" pitchFamily="2" charset="0"/>
              </a:rPr>
              <a:t>the planet.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29E109D-F13A-932A-B196-D5E9EB88F9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92307" y="2209397"/>
            <a:ext cx="2800981" cy="452500"/>
          </a:xfrm>
          <a:custGeom>
            <a:avLst/>
            <a:gdLst>
              <a:gd name="connsiteX0" fmla="*/ 198347 w 4619065"/>
              <a:gd name="connsiteY0" fmla="*/ 0 h 746311"/>
              <a:gd name="connsiteX1" fmla="*/ 4420718 w 4619065"/>
              <a:gd name="connsiteY1" fmla="*/ 0 h 746311"/>
              <a:gd name="connsiteX2" fmla="*/ 4619065 w 4619065"/>
              <a:gd name="connsiteY2" fmla="*/ 198347 h 746311"/>
              <a:gd name="connsiteX3" fmla="*/ 4619065 w 4619065"/>
              <a:gd name="connsiteY3" fmla="*/ 547964 h 746311"/>
              <a:gd name="connsiteX4" fmla="*/ 4420718 w 4619065"/>
              <a:gd name="connsiteY4" fmla="*/ 746311 h 746311"/>
              <a:gd name="connsiteX5" fmla="*/ 198347 w 4619065"/>
              <a:gd name="connsiteY5" fmla="*/ 746311 h 746311"/>
              <a:gd name="connsiteX6" fmla="*/ 0 w 4619065"/>
              <a:gd name="connsiteY6" fmla="*/ 547964 h 746311"/>
              <a:gd name="connsiteX7" fmla="*/ 0 w 4619065"/>
              <a:gd name="connsiteY7" fmla="*/ 198347 h 746311"/>
              <a:gd name="connsiteX8" fmla="*/ 198347 w 4619065"/>
              <a:gd name="connsiteY8" fmla="*/ 0 h 746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065" h="746311">
                <a:moveTo>
                  <a:pt x="198347" y="0"/>
                </a:moveTo>
                <a:lnTo>
                  <a:pt x="4420718" y="0"/>
                </a:lnTo>
                <a:cubicBezTo>
                  <a:pt x="4530262" y="0"/>
                  <a:pt x="4619065" y="88803"/>
                  <a:pt x="4619065" y="198347"/>
                </a:cubicBezTo>
                <a:lnTo>
                  <a:pt x="4619065" y="547964"/>
                </a:lnTo>
                <a:cubicBezTo>
                  <a:pt x="4619065" y="657508"/>
                  <a:pt x="4530262" y="746311"/>
                  <a:pt x="4420718" y="746311"/>
                </a:cubicBezTo>
                <a:lnTo>
                  <a:pt x="198347" y="746311"/>
                </a:lnTo>
                <a:cubicBezTo>
                  <a:pt x="88803" y="746311"/>
                  <a:pt x="0" y="657508"/>
                  <a:pt x="0" y="547964"/>
                </a:cubicBezTo>
                <a:lnTo>
                  <a:pt x="0" y="198347"/>
                </a:lnTo>
                <a:cubicBezTo>
                  <a:pt x="0" y="88803"/>
                  <a:pt x="88803" y="0"/>
                  <a:pt x="198347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lIns="396000" tIns="180000" anchor="t" anchorCtr="0">
            <a:noAutofit/>
          </a:bodyPr>
          <a:lstStyle>
            <a:lvl1pPr marL="85663" marR="0" indent="-85663" algn="l" defTabSz="914262" rtl="0" eaLnBrk="1" fontAlgn="auto" latinLnBrk="0" hangingPunct="1">
              <a:lnSpc>
                <a:spcPts val="1880"/>
              </a:lnSpc>
              <a:spcBef>
                <a:spcPts val="1213"/>
              </a:spcBef>
              <a:spcAft>
                <a:spcPts val="606"/>
              </a:spcAft>
              <a:buClrTx/>
              <a:buSzTx/>
              <a:buFont typeface="Arial" panose="020B0604020202020204" pitchFamily="34" charset="0"/>
              <a:buNone/>
              <a:tabLst/>
              <a:defRPr sz="1182" i="0"/>
            </a:lvl1pPr>
          </a:lstStyle>
          <a:p>
            <a:r>
              <a:rPr lang="en-IN" i="1">
                <a:effectLst/>
                <a:latin typeface="FS Albert Pro" panose="02000503040000020004" pitchFamily="2" charset="0"/>
              </a:rPr>
              <a:t>Click to edit Master text styles</a:t>
            </a:r>
          </a:p>
          <a:p>
            <a:endParaRPr lang="en-IN" i="1">
              <a:effectLst/>
              <a:latin typeface="FS Albert Pro" panose="02000503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44076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3D48502-AE73-47DD-AE80-32AC5B9A6908}"/>
              </a:ext>
            </a:extLst>
          </p:cNvPr>
          <p:cNvSpPr/>
          <p:nvPr userDrawn="1"/>
        </p:nvSpPr>
        <p:spPr>
          <a:xfrm>
            <a:off x="-1059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3000">
                <a:schemeClr val="bg2"/>
              </a:gs>
            </a:gsLst>
            <a:lin ang="27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Graphic 22">
            <a:extLst>
              <a:ext uri="{FF2B5EF4-FFF2-40B4-BE49-F238E27FC236}">
                <a16:creationId xmlns:a16="http://schemas.microsoft.com/office/drawing/2014/main" id="{70934B71-6540-47B1-B466-F01F94C50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393860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49239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516813CC-7604-BE53-FA75-0FA96DD3B0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grayscl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7">
            <a:extLst>
              <a:ext uri="{FF2B5EF4-FFF2-40B4-BE49-F238E27FC236}">
                <a16:creationId xmlns:a16="http://schemas.microsoft.com/office/drawing/2014/main" id="{6E2417BF-0650-0EA9-B250-CAC4848EF649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Espace réservé pour une image  3">
            <a:extLst>
              <a:ext uri="{FF2B5EF4-FFF2-40B4-BE49-F238E27FC236}">
                <a16:creationId xmlns:a16="http://schemas.microsoft.com/office/drawing/2014/main" id="{A73937C2-92B7-3456-93CB-296043CC16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ent/Partner logo here</a:t>
            </a:r>
          </a:p>
        </p:txBody>
      </p:sp>
      <p:pic>
        <p:nvPicPr>
          <p:cNvPr id="4" name="Graphic 22">
            <a:extLst>
              <a:ext uri="{FF2B5EF4-FFF2-40B4-BE49-F238E27FC236}">
                <a16:creationId xmlns:a16="http://schemas.microsoft.com/office/drawing/2014/main" id="{6DC32BD2-B0C7-3BB5-E716-DBC1F14CFB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834F759-2E6A-C29A-D998-FFF5E293F0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8" y="2842865"/>
            <a:ext cx="6721475" cy="2136775"/>
          </a:xfrm>
          <a:noFill/>
        </p:spPr>
        <p:txBody>
          <a:bodyPr/>
          <a:lstStyle>
            <a:lvl1pPr>
              <a:defRPr sz="5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endParaRPr lang="en-US" noProof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CC48D9F-9492-8BE4-555B-810DA3DC2072}"/>
              </a:ext>
            </a:extLst>
          </p:cNvPr>
          <p:cNvSpPr txBox="1">
            <a:spLocks/>
          </p:cNvSpPr>
          <p:nvPr userDrawn="1"/>
        </p:nvSpPr>
        <p:spPr>
          <a:xfrm>
            <a:off x="623888" y="6091570"/>
            <a:ext cx="1919685" cy="6235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457189" rtl="0" eaLnBrk="1" latinLnBrk="0" hangingPunct="1">
              <a:spcBef>
                <a:spcPts val="1200"/>
              </a:spcBef>
              <a:spcAft>
                <a:spcPts val="30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GB" sz="1400" b="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796" indent="-177796" algn="l" defTabSz="457189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lang="en-GB" sz="14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42" indent="-180970" algn="l" defTabSz="514338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alibri" pitchFamily="34" charset="0"/>
              <a:buChar char="−"/>
              <a:defRPr lang="en-GB" sz="14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61" indent="-161921" algn="l" defTabSz="457189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itchFamily="49" charset="0"/>
              <a:buChar char="o"/>
              <a:tabLst/>
              <a:defRPr lang="en-GB" sz="12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2780" indent="-165096" algn="l" defTabSz="457189" rtl="0" eaLnBrk="1" latinLnBrk="0" hangingPunct="1">
              <a:spcBef>
                <a:spcPts val="0"/>
              </a:spcBef>
              <a:buClr>
                <a:srgbClr val="D52B1E"/>
              </a:buClr>
              <a:buFont typeface="Calibri" pitchFamily="34" charset="0"/>
              <a:buChar char="-"/>
              <a:tabLst/>
              <a:defRPr lang="en-GB" sz="1100" kern="1200" noProof="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200" noProof="0">
                <a:solidFill>
                  <a:schemeClr val="bg1"/>
                </a:solidFill>
              </a:rPr>
              <a:t>www.bearingpoint.com</a:t>
            </a:r>
          </a:p>
        </p:txBody>
      </p:sp>
    </p:spTree>
    <p:extLst>
      <p:ext uri="{BB962C8B-B14F-4D97-AF65-F5344CB8AC3E}">
        <p14:creationId xmlns:p14="http://schemas.microsoft.com/office/powerpoint/2010/main" val="1923941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2"/>
            <a:ext cx="10944225" cy="36933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9" y="917325"/>
            <a:ext cx="10863263" cy="307467"/>
          </a:xfrm>
        </p:spPr>
        <p:txBody>
          <a:bodyPr anchor="t"/>
          <a:lstStyle>
            <a:lvl1pPr>
              <a:buFontTx/>
              <a:buNone/>
              <a:defRPr sz="1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67" indent="0">
              <a:buFontTx/>
              <a:buNone/>
              <a:defRPr/>
            </a:lvl3pPr>
            <a:lvl4pPr marL="374631" indent="0">
              <a:buFontTx/>
              <a:buNone/>
              <a:defRPr/>
            </a:lvl4pPr>
            <a:lvl5pPr marL="647668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8868A6E-C028-C4A8-ED8A-9B200B4680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757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uryon_Black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2" descr="Leuchtendes Technologienetzwerk vor dunklem Hintergrund">
            <a:extLst>
              <a:ext uri="{FF2B5EF4-FFF2-40B4-BE49-F238E27FC236}">
                <a16:creationId xmlns:a16="http://schemas.microsoft.com/office/drawing/2014/main" id="{9523C447-528B-59C1-0721-5F812D5D7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95425"/>
            <a:ext cx="12192000" cy="44196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23E6A7B-5F21-6ADE-5B73-9B8FB42C8F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36575"/>
            <a:ext cx="12192000" cy="715963"/>
          </a:xfrm>
        </p:spPr>
        <p:txBody>
          <a:bodyPr/>
          <a:lstStyle>
            <a:lvl1pPr algn="ctr">
              <a:defRPr lang="en-US" sz="3200" kern="1200" dirty="0" smtClean="0">
                <a:solidFill>
                  <a:schemeClr val="bg2"/>
                </a:solidFill>
                <a:latin typeface="BearingPoint Sans Latin" panose="00000800000000000000" pitchFamily="50" charset="0"/>
                <a:ea typeface="+mn-ea"/>
                <a:cs typeface="+mn-cs"/>
              </a:defRPr>
            </a:lvl1pPr>
            <a:lvl2pPr>
              <a:defRPr lang="en-US" sz="3200" kern="1200" dirty="0" smtClean="0">
                <a:solidFill>
                  <a:schemeClr val="bg2"/>
                </a:solidFill>
                <a:latin typeface="BearingPoint Sans Latin" panose="00000800000000000000" pitchFamily="50" charset="0"/>
                <a:ea typeface="+mn-ea"/>
                <a:cs typeface="+mn-cs"/>
              </a:defRPr>
            </a:lvl2pPr>
            <a:lvl3pPr>
              <a:defRPr lang="en-US" sz="3200" kern="1200" dirty="0" smtClean="0">
                <a:solidFill>
                  <a:schemeClr val="bg2"/>
                </a:solidFill>
                <a:latin typeface="BearingPoint Sans Latin" panose="00000800000000000000" pitchFamily="50" charset="0"/>
                <a:ea typeface="+mn-ea"/>
                <a:cs typeface="+mn-cs"/>
              </a:defRPr>
            </a:lvl3pPr>
            <a:lvl4pPr>
              <a:defRPr lang="en-US" sz="3200" kern="1200" dirty="0" smtClean="0">
                <a:solidFill>
                  <a:schemeClr val="bg2"/>
                </a:solidFill>
                <a:latin typeface="BearingPoint Sans Latin" panose="00000800000000000000" pitchFamily="50" charset="0"/>
                <a:ea typeface="+mn-ea"/>
                <a:cs typeface="+mn-cs"/>
              </a:defRPr>
            </a:lvl4pPr>
            <a:lvl5pPr marL="647684" indent="0">
              <a:buNone/>
              <a:defRPr/>
            </a:lvl5pPr>
          </a:lstStyle>
          <a:p>
            <a:pPr lvl="0"/>
            <a:r>
              <a:rPr lang="en-US"/>
              <a:t>Click here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552441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F9DC38-BF2B-4966-BEBE-6429588447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3E03B79-5187-4781-8B46-50077B0460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806C49-1226-4067-BF64-EBDCCB1EEFAB}"/>
              </a:ext>
            </a:extLst>
          </p:cNvPr>
          <p:cNvSpPr/>
          <p:nvPr userDrawn="1"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9123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text Blac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 marL="0" indent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43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968050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how |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19FF2963-C143-6511-9F41-82B5DE869D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6000" y="2060848"/>
            <a:ext cx="5183578" cy="432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tx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tx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tx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tx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tx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tx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tx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tx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447669-90F6-08C0-74C3-F1A82C4B1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6522" y="1052832"/>
            <a:ext cx="5183578" cy="1008016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291574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A4A3A4"/>
          </p15:clr>
        </p15:guide>
        <p15:guide id="2" pos="3704">
          <p15:clr>
            <a:srgbClr val="A4A3A4"/>
          </p15:clr>
        </p15:guide>
        <p15:guide id="3" pos="3976">
          <p15:clr>
            <a:srgbClr val="A4A3A4"/>
          </p15:clr>
        </p15:guide>
        <p15:guide id="4" orient="horz" pos="1026">
          <p15:clr>
            <a:srgbClr val="A4A3A4"/>
          </p15:clr>
        </p15:guide>
        <p15:guide id="5" orient="horz" pos="1979">
          <p15:clr>
            <a:srgbClr val="A4A3A4"/>
          </p15:clr>
        </p15:guide>
        <p15:guide id="6" orient="horz" pos="2251">
          <p15:clr>
            <a:srgbClr val="A4A3A4"/>
          </p15:clr>
        </p15:guide>
        <p15:guide id="7" orient="horz" pos="3203">
          <p15:clr>
            <a:srgbClr val="A4A3A4"/>
          </p15:clr>
        </p15:guide>
        <p15:guide id="8" orient="horz" pos="2931">
          <p15:clr>
            <a:srgbClr val="A4A3A4"/>
          </p15:clr>
        </p15:guide>
        <p15:guide id="9" pos="1346">
          <p15:clr>
            <a:srgbClr val="A4A3A4"/>
          </p15:clr>
        </p15:guide>
        <p15:guide id="10" pos="2797">
          <p15:clr>
            <a:srgbClr val="A4A3A4"/>
          </p15:clr>
        </p15:guide>
        <p15:guide id="11" pos="1618">
          <p15:clr>
            <a:srgbClr val="A4A3A4"/>
          </p15:clr>
        </p15:guide>
        <p15:guide id="12" pos="2525">
          <p15:clr>
            <a:srgbClr val="A4A3A4"/>
          </p15:clr>
        </p15:guide>
        <p15:guide id="13" pos="4883">
          <p15:clr>
            <a:srgbClr val="A4A3A4"/>
          </p15:clr>
        </p15:guide>
        <p15:guide id="14" pos="5155">
          <p15:clr>
            <a:srgbClr val="A4A3A4"/>
          </p15:clr>
        </p15:guide>
        <p15:guide id="15" pos="6062">
          <p15:clr>
            <a:srgbClr val="A4A3A4"/>
          </p15:clr>
        </p15:guide>
        <p15:guide id="16" pos="6334">
          <p15:clr>
            <a:srgbClr val="A4A3A4"/>
          </p15:clr>
        </p15:guide>
        <p15:guide id="17" pos="756">
          <p15:clr>
            <a:srgbClr val="A4A3A4"/>
          </p15:clr>
        </p15:guide>
        <p15:guide id="18" pos="1028">
          <p15:clr>
            <a:srgbClr val="A4A3A4"/>
          </p15:clr>
        </p15:guide>
        <p15:guide id="19" pos="1935">
          <p15:clr>
            <a:srgbClr val="A4A3A4"/>
          </p15:clr>
        </p15:guide>
        <p15:guide id="20" pos="2207">
          <p15:clr>
            <a:srgbClr val="A4A3A4"/>
          </p15:clr>
        </p15:guide>
        <p15:guide id="21" pos="3114">
          <p15:clr>
            <a:srgbClr val="A4A3A4"/>
          </p15:clr>
        </p15:guide>
        <p15:guide id="22" pos="3386">
          <p15:clr>
            <a:srgbClr val="A4A3A4"/>
          </p15:clr>
        </p15:guide>
        <p15:guide id="23" pos="4294">
          <p15:clr>
            <a:srgbClr val="A4A3A4"/>
          </p15:clr>
        </p15:guide>
        <p15:guide id="24" pos="4566">
          <p15:clr>
            <a:srgbClr val="A4A3A4"/>
          </p15:clr>
        </p15:guide>
        <p15:guide id="25" pos="5473">
          <p15:clr>
            <a:srgbClr val="A4A3A4"/>
          </p15:clr>
        </p15:guide>
        <p15:guide id="26" pos="5745">
          <p15:clr>
            <a:srgbClr val="A4A3A4"/>
          </p15:clr>
        </p15:guide>
        <p15:guide id="27" pos="6652">
          <p15:clr>
            <a:srgbClr val="A4A3A4"/>
          </p15:clr>
        </p15:guide>
        <p15:guide id="28" pos="6924">
          <p15:clr>
            <a:srgbClr val="A4A3A4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c |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EC958ED4-4548-B5E3-E2F3-027EA302BF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96000" y="2060848"/>
            <a:ext cx="10800000" cy="4105275"/>
          </a:xfrm>
        </p:spPr>
        <p:txBody>
          <a:bodyPr/>
          <a:lstStyle>
            <a:lvl1pPr>
              <a:defRPr/>
            </a:lvl1pPr>
            <a:lvl4pPr>
              <a:defRPr/>
            </a:lvl4pPr>
            <a:lvl5pPr>
              <a:spcBef>
                <a:spcPts val="1200"/>
              </a:spcBef>
              <a:defRPr/>
            </a:lvl5pPr>
            <a:lvl6pPr>
              <a:spcBef>
                <a:spcPts val="1200"/>
              </a:spcBef>
              <a:defRPr/>
            </a:lvl6pPr>
            <a:lvl7pPr>
              <a:spcBef>
                <a:spcPts val="1200"/>
              </a:spcBef>
              <a:defRPr/>
            </a:lvl7pPr>
            <a:lvl8pPr>
              <a:spcBef>
                <a:spcPts val="1200"/>
              </a:spcBef>
              <a:defRPr/>
            </a:lvl8pPr>
            <a:lvl9pPr>
              <a:spcBef>
                <a:spcPts val="1200"/>
              </a:spcBef>
              <a:defRPr/>
            </a:lvl9pPr>
          </a:lstStyle>
          <a:p>
            <a:pPr lvl="0"/>
            <a:r>
              <a:rPr lang="en-US" noProof="0"/>
              <a:t>Click to edit body text in Calibri Regular, 12 pt. Use the “Increase/Decrease List Level function” to switch between the predefined text formats, bullet points and subheading. </a:t>
            </a:r>
          </a:p>
          <a:p>
            <a:pPr lvl="1"/>
            <a:r>
              <a:rPr lang="en-US" noProof="0"/>
              <a:t>Second level (first bullet list level)</a:t>
            </a:r>
          </a:p>
          <a:p>
            <a:pPr lvl="2"/>
            <a:r>
              <a:rPr lang="en-US" noProof="0"/>
              <a:t>Third level (second bullet list level)</a:t>
            </a:r>
          </a:p>
          <a:p>
            <a:pPr lvl="3">
              <a:lnSpc>
                <a:spcPct val="130000"/>
              </a:lnSpc>
            </a:pPr>
            <a:r>
              <a:rPr lang="en-US" noProof="0"/>
              <a:t>Fourth level (third bullet list level)</a:t>
            </a:r>
          </a:p>
          <a:p>
            <a:pPr lvl="4">
              <a:lnSpc>
                <a:spcPct val="130000"/>
              </a:lnSpc>
            </a:pPr>
            <a:r>
              <a:rPr lang="en-US" noProof="0"/>
              <a:t>Fifth level (subheading)</a:t>
            </a:r>
          </a:p>
          <a:p>
            <a:pPr lvl="5">
              <a:lnSpc>
                <a:spcPct val="130000"/>
              </a:lnSpc>
            </a:pPr>
            <a:r>
              <a:rPr lang="en-US" noProof="0"/>
              <a:t>Six</a:t>
            </a:r>
          </a:p>
          <a:p>
            <a:pPr lvl="6">
              <a:lnSpc>
                <a:spcPct val="130000"/>
              </a:lnSpc>
            </a:pPr>
            <a:r>
              <a:rPr lang="en-US" noProof="0"/>
              <a:t>Seven</a:t>
            </a:r>
          </a:p>
          <a:p>
            <a:pPr lvl="7">
              <a:lnSpc>
                <a:spcPct val="130000"/>
              </a:lnSpc>
            </a:pPr>
            <a:r>
              <a:rPr lang="en-US" noProof="0"/>
              <a:t>Eight</a:t>
            </a:r>
          </a:p>
          <a:p>
            <a:pPr lvl="8">
              <a:lnSpc>
                <a:spcPct val="130000"/>
              </a:lnSpc>
            </a:pPr>
            <a:r>
              <a:rPr lang="en-US" noProof="0"/>
              <a:t>Nine</a:t>
            </a:r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B378989F-006F-E161-866F-5CD0C37028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6474" y="1268760"/>
            <a:ext cx="10800000" cy="360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014D6-8552-E760-0862-74234098B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83786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A4A3A4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view of a snow covered mountain&#10;&#10;Description automatically generated">
            <a:extLst>
              <a:ext uri="{FF2B5EF4-FFF2-40B4-BE49-F238E27FC236}">
                <a16:creationId xmlns:a16="http://schemas.microsoft.com/office/drawing/2014/main" id="{01CC6D2B-B16A-4606-8F31-9584F4347A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7" y="0"/>
            <a:ext cx="12189023" cy="6858000"/>
          </a:xfrm>
          <a:prstGeom prst="rect">
            <a:avLst/>
          </a:prstGeom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1DC880CA-3C0A-57F7-2635-591C6E8EA21C}"/>
              </a:ext>
            </a:extLst>
          </p:cNvPr>
          <p:cNvSpPr/>
          <p:nvPr userDrawn="1"/>
        </p:nvSpPr>
        <p:spPr>
          <a:xfrm>
            <a:off x="1" y="4762"/>
            <a:ext cx="12192000" cy="6858000"/>
          </a:xfrm>
          <a:prstGeom prst="rect">
            <a:avLst/>
          </a:prstGeom>
          <a:solidFill>
            <a:schemeClr val="accent6">
              <a:lumMod val="50000"/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905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B88159-855E-496E-BA12-E22A0FC020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433" y="3695883"/>
            <a:ext cx="9152835" cy="738664"/>
          </a:xfrm>
        </p:spPr>
        <p:txBody>
          <a:bodyPr anchor="b" anchorCtr="0"/>
          <a:lstStyle>
            <a:lvl1pPr algn="l">
              <a:defRPr sz="53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A86886-714C-4A82-BCF7-872B5EB024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433" y="4526621"/>
            <a:ext cx="9152835" cy="517064"/>
          </a:xfrm>
        </p:spPr>
        <p:txBody>
          <a:bodyPr/>
          <a:lstStyle>
            <a:lvl1pPr marL="0" indent="0" algn="l">
              <a:buNone/>
              <a:defRPr sz="37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E1E4EDA6-247C-4F90-A0F5-E5F4ED6FEC8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92" y="6555605"/>
            <a:ext cx="2743200" cy="138499"/>
          </a:xfrm>
          <a:prstGeom prst="rect">
            <a:avLst/>
          </a:prstGeom>
        </p:spPr>
        <p:txBody>
          <a:bodyPr/>
          <a:lstStyle/>
          <a:p>
            <a:fld id="{BAF1F99E-22E3-455D-A858-00EF66EB4007}" type="datetimeFigureOut">
              <a:rPr lang="en-GB" smtClean="0"/>
              <a:t>25/06/2025</a:t>
            </a:fld>
            <a:endParaRPr lang="en-GB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3F46E71D-4FDA-4FDE-9A46-B1DFBA86E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381" y="6555605"/>
            <a:ext cx="4114800" cy="13849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F5A0A1B3-30DE-46F2-8F67-1AF94E53C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8771" y="6555605"/>
            <a:ext cx="2743200" cy="138499"/>
          </a:xfrm>
          <a:prstGeom prst="rect">
            <a:avLst/>
          </a:prstGeom>
        </p:spPr>
        <p:txBody>
          <a:bodyPr/>
          <a:lstStyle/>
          <a:p>
            <a:fld id="{0FA33E44-D8BE-458D-A494-3108DAF1643D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20E7EB2-562E-4F3B-812F-B6FEEA110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823" y="5071529"/>
            <a:ext cx="9152835" cy="263149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Graphic 22">
            <a:extLst>
              <a:ext uri="{FF2B5EF4-FFF2-40B4-BE49-F238E27FC236}">
                <a16:creationId xmlns:a16="http://schemas.microsoft.com/office/drawing/2014/main" id="{CDF17183-B50A-364B-BCB1-3D2D8826BD6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64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 black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98E9D5B5-89E6-4889-847E-4495B7E98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2" y="189035"/>
            <a:ext cx="11514911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4" name="Graphic 22">
            <a:extLst>
              <a:ext uri="{FF2B5EF4-FFF2-40B4-BE49-F238E27FC236}">
                <a16:creationId xmlns:a16="http://schemas.microsoft.com/office/drawing/2014/main" id="{0CEF1B9E-BE79-CB4C-9650-B12275725C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63837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view of a snow covered mountain&#10;&#10;Description automatically generated">
            <a:extLst>
              <a:ext uri="{FF2B5EF4-FFF2-40B4-BE49-F238E27FC236}">
                <a16:creationId xmlns:a16="http://schemas.microsoft.com/office/drawing/2014/main" id="{01CC6D2B-B16A-4606-8F31-9584F4347A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" y="0"/>
            <a:ext cx="12189023" cy="6858000"/>
          </a:xfrm>
          <a:prstGeom prst="rect">
            <a:avLst/>
          </a:prstGeom>
        </p:spPr>
      </p:pic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E1E4EDA6-247C-4F90-A0F5-E5F4ED6FEC8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1592" y="6555605"/>
            <a:ext cx="2743200" cy="138499"/>
          </a:xfrm>
          <a:prstGeom prst="rect">
            <a:avLst/>
          </a:prstGeom>
        </p:spPr>
        <p:txBody>
          <a:bodyPr/>
          <a:lstStyle/>
          <a:p>
            <a:fld id="{BAF1F99E-22E3-455D-A858-00EF66EB4007}" type="datetimeFigureOut">
              <a:rPr lang="en-GB" smtClean="0"/>
              <a:t>25/06/2025</a:t>
            </a:fld>
            <a:endParaRPr lang="en-GB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3F46E71D-4FDA-4FDE-9A46-B1DFBA86E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9381" y="6555605"/>
            <a:ext cx="4114800" cy="13849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F5A0A1B3-30DE-46F2-8F67-1AF94E53C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8771" y="6555605"/>
            <a:ext cx="2743200" cy="138499"/>
          </a:xfrm>
          <a:prstGeom prst="rect">
            <a:avLst/>
          </a:prstGeom>
        </p:spPr>
        <p:txBody>
          <a:bodyPr/>
          <a:lstStyle/>
          <a:p>
            <a:fld id="{0FA33E44-D8BE-458D-A494-3108DAF1643D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7083468-451E-594C-89C4-59CC4DD20B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4" y="1136257"/>
            <a:ext cx="11523133" cy="33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900" b="1" noProof="0" dirty="0" smtClea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spcBef>
                <a:spcPts val="0"/>
              </a:spcBef>
              <a:buFont typeface="Arial" pitchFamily="34" charset="0"/>
            </a:pPr>
            <a:r>
              <a:rPr lang="en-US" noProof="0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D1B3A22-28DC-3148-B985-9B411262B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4" y="188385"/>
            <a:ext cx="11514909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B58EB0C-560C-43D2-AF25-F9D34C40FE82}"/>
              </a:ext>
            </a:extLst>
          </p:cNvPr>
          <p:cNvSpPr/>
          <p:nvPr userDrawn="1"/>
        </p:nvSpPr>
        <p:spPr>
          <a:xfrm>
            <a:off x="1488" y="0"/>
            <a:ext cx="12192000" cy="6858000"/>
          </a:xfrm>
          <a:prstGeom prst="rect">
            <a:avLst/>
          </a:prstGeom>
          <a:solidFill>
            <a:srgbClr val="0D0D0D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22">
            <a:extLst>
              <a:ext uri="{FF2B5EF4-FFF2-40B4-BE49-F238E27FC236}">
                <a16:creationId xmlns:a16="http://schemas.microsoft.com/office/drawing/2014/main" id="{7A03E560-9CBB-9B4A-83B3-990F943DCF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75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Divider Image">
    <p:bg>
      <p:bgPr>
        <a:gradFill>
          <a:gsLst>
            <a:gs pos="0">
              <a:schemeClr val="accent1"/>
            </a:gs>
            <a:gs pos="98000">
              <a:schemeClr val="accent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EDIA 0038.jpg">
            <a:extLst>
              <a:ext uri="{FF2B5EF4-FFF2-40B4-BE49-F238E27FC236}">
                <a16:creationId xmlns:a16="http://schemas.microsoft.com/office/drawing/2014/main" id="{7B51432F-1FCF-4A68-869F-3AE0A063F4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61472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C433551-E20F-B046-B844-4BD2603DD2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2" y="189035"/>
            <a:ext cx="11514911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C15EBF9-74E8-8F4F-A0B0-A133541CD9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4" y="1136257"/>
            <a:ext cx="11523133" cy="33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900" b="1" noProof="0" dirty="0" smtClea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spcBef>
                <a:spcPts val="0"/>
              </a:spcBef>
              <a:buFont typeface="Arial" pitchFamily="34" charset="0"/>
            </a:pPr>
            <a:r>
              <a:rPr lang="en-US" noProof="0"/>
              <a:t>Click to edit Master text style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B593563-D892-4843-9944-B01B5B73B01B}"/>
              </a:ext>
            </a:extLst>
          </p:cNvPr>
          <p:cNvSpPr/>
          <p:nvPr userDrawn="1"/>
        </p:nvSpPr>
        <p:spPr>
          <a:xfrm>
            <a:off x="0" y="0"/>
            <a:ext cx="12261472" cy="6858000"/>
          </a:xfrm>
          <a:prstGeom prst="rect">
            <a:avLst/>
          </a:prstGeom>
          <a:solidFill>
            <a:srgbClr val="0D0D0D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A3EBB630-B3BE-F944-A5BC-219EBE5CB5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96884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Quote 1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27F0E0-2AD4-E467-62C9-29111EB33C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62"/>
            <a:ext cx="12268200" cy="685323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13ADB47-7543-D24F-AC77-5CFFCB6C7C3C}"/>
              </a:ext>
            </a:extLst>
          </p:cNvPr>
          <p:cNvSpPr/>
          <p:nvPr userDrawn="1"/>
        </p:nvSpPr>
        <p:spPr>
          <a:xfrm>
            <a:off x="0" y="4762"/>
            <a:ext cx="12272311" cy="6858000"/>
          </a:xfrm>
          <a:prstGeom prst="rect">
            <a:avLst/>
          </a:prstGeom>
          <a:solidFill>
            <a:srgbClr val="000000">
              <a:alpha val="64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905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FCC25700-12A9-AE4A-95F5-E6E288CC601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512C46-3197-6941-9BF3-EE1DC2FE2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5" y="188385"/>
            <a:ext cx="11514911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74BB5F2-D37D-5841-A4B4-5E6352B6D1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5" y="1136258"/>
            <a:ext cx="11523133" cy="33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900" b="1" noProof="0" dirty="0" smtClea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spcBef>
                <a:spcPts val="0"/>
              </a:spcBef>
              <a:buFont typeface="Arial" pitchFamily="34" charset="0"/>
            </a:pPr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652490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Quote 1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60A4D46-C3F5-78C5-C189-23A531804D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-88"/>
          <a:stretch/>
        </p:blipFill>
        <p:spPr>
          <a:xfrm>
            <a:off x="-60961" y="-68753"/>
            <a:ext cx="12313921" cy="696121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13ADB47-7543-D24F-AC77-5CFFCB6C7C3C}"/>
              </a:ext>
            </a:extLst>
          </p:cNvPr>
          <p:cNvSpPr/>
          <p:nvPr userDrawn="1"/>
        </p:nvSpPr>
        <p:spPr>
          <a:xfrm>
            <a:off x="-19351" y="34461"/>
            <a:ext cx="12272311" cy="6858000"/>
          </a:xfrm>
          <a:prstGeom prst="rect">
            <a:avLst/>
          </a:prstGeom>
          <a:solidFill>
            <a:srgbClr val="000000">
              <a:alpha val="53725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905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FCC25700-12A9-AE4A-95F5-E6E288CC60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512C46-3197-6941-9BF3-EE1DC2FE2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5" y="188385"/>
            <a:ext cx="11514911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74BB5F2-D37D-5841-A4B4-5E6352B6D1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5" y="1136258"/>
            <a:ext cx="11523133" cy="33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900" b="1" noProof="0" dirty="0" smtClea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spcBef>
                <a:spcPts val="0"/>
              </a:spcBef>
              <a:buFont typeface="Arial" pitchFamily="34" charset="0"/>
            </a:pPr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929026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Quote 1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1CFE02F-4043-7F4C-8CB6-C219B3E46B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13ADB47-7543-D24F-AC77-5CFFCB6C7C3C}"/>
              </a:ext>
            </a:extLst>
          </p:cNvPr>
          <p:cNvSpPr/>
          <p:nvPr userDrawn="1"/>
        </p:nvSpPr>
        <p:spPr>
          <a:xfrm>
            <a:off x="1" y="0"/>
            <a:ext cx="12192001" cy="6858000"/>
          </a:xfrm>
          <a:prstGeom prst="rect">
            <a:avLst/>
          </a:prstGeom>
          <a:solidFill>
            <a:srgbClr val="000000">
              <a:alpha val="53725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905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FCC25700-12A9-AE4A-95F5-E6E288CC601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A512C46-3197-6941-9BF3-EE1DC2FE2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5" y="188385"/>
            <a:ext cx="11514911" cy="820872"/>
          </a:xfrm>
        </p:spPr>
        <p:txBody>
          <a:bodyPr anchor="b" anchorCtr="0">
            <a:noAutofit/>
          </a:bodyPr>
          <a:lstStyle>
            <a:lvl1pPr>
              <a:spcAft>
                <a:spcPts val="0"/>
              </a:spcAft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74BB5F2-D37D-5841-A4B4-5E6352B6D1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5" y="1136258"/>
            <a:ext cx="11523133" cy="33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900" b="1" noProof="0" dirty="0" smtClea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spcBef>
                <a:spcPts val="0"/>
              </a:spcBef>
              <a:buFont typeface="Arial" pitchFamily="34" charset="0"/>
            </a:pPr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83596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CD9725D-EA1E-4B70-B6EC-DB2F0E4A81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7038" y="571500"/>
            <a:ext cx="8680450" cy="5734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Click to add image</a:t>
            </a:r>
            <a:endParaRPr lang="en-US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362D5DB-01A7-4F16-92C7-0A276E1D05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21699" y="1808163"/>
            <a:ext cx="3243171" cy="32416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288000" rIns="432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0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pPr lvl="0" defTabSz="519488">
              <a:lnSpc>
                <a:spcPct val="120000"/>
              </a:lnSpc>
            </a:pPr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528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917325"/>
            <a:ext cx="10944224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E4EB6C-3D5C-4105-8C49-7F9DE26BA9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628775"/>
            <a:ext cx="10944225" cy="42100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lnSpc>
                <a:spcPct val="130000"/>
              </a:lnSpc>
              <a:spcAft>
                <a:spcPts val="300"/>
              </a:spcAft>
              <a:defRPr>
                <a:latin typeface="+mn-lt"/>
              </a:defRPr>
            </a:lvl4pPr>
            <a:lvl5pPr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  <a:buSzPct val="60000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5352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box Full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CD9725D-EA1E-4B70-B6EC-DB2F0E4A81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948829" cy="6857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362D5DB-01A7-4F16-92C7-0A276E1D05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48829" y="1"/>
            <a:ext cx="3243171" cy="68579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288000" rIns="432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0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pPr lvl="0" defTabSz="519488">
              <a:lnSpc>
                <a:spcPct val="120000"/>
              </a:lnSpc>
            </a:pPr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6" name="Graphic 22">
            <a:extLst>
              <a:ext uri="{FF2B5EF4-FFF2-40B4-BE49-F238E27FC236}">
                <a16:creationId xmlns:a16="http://schemas.microsoft.com/office/drawing/2014/main" id="{E58B5C9E-B015-4AC2-AB46-7A889B1EC4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192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V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3BF210B-C9AE-45D8-9822-202661E8CF7D}"/>
              </a:ext>
            </a:extLst>
          </p:cNvPr>
          <p:cNvSpPr/>
          <p:nvPr userDrawn="1"/>
        </p:nvSpPr>
        <p:spPr>
          <a:xfrm>
            <a:off x="4760536" y="0"/>
            <a:ext cx="7431463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 err="1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B8B3202-7FDD-4BFB-A1D6-B9EB95658B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3563" y="658813"/>
            <a:ext cx="1036637" cy="1446212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7B660C6C-94BB-4C4F-8BD7-78DC86A9A0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888" y="712788"/>
            <a:ext cx="1096962" cy="1506537"/>
          </a:xfrm>
          <a:prstGeom prst="rect">
            <a:avLst/>
          </a:prstGeom>
          <a:effectLst>
            <a:outerShdw blurRad="127000" dist="292100" dir="5400000" sx="82000" sy="82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cxnSp>
        <p:nvCxnSpPr>
          <p:cNvPr id="4" name="Connecteur droit 25">
            <a:extLst>
              <a:ext uri="{FF2B5EF4-FFF2-40B4-BE49-F238E27FC236}">
                <a16:creationId xmlns:a16="http://schemas.microsoft.com/office/drawing/2014/main" id="{9E1496CB-D8FA-4ACD-801C-EAF51068845F}"/>
              </a:ext>
            </a:extLst>
          </p:cNvPr>
          <p:cNvCxnSpPr>
            <a:cxnSpLocks/>
          </p:cNvCxnSpPr>
          <p:nvPr userDrawn="1"/>
        </p:nvCxnSpPr>
        <p:spPr>
          <a:xfrm>
            <a:off x="2084801" y="1538793"/>
            <a:ext cx="385349" cy="0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2E94EC5A-C7D4-45A5-9121-6C36CD281C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84801" y="773881"/>
            <a:ext cx="2518949" cy="354625"/>
          </a:xfrm>
        </p:spPr>
        <p:txBody>
          <a:bodyPr/>
          <a:lstStyle>
            <a:lvl1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2050" b="1" kern="1200" dirty="0" smtClean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Surname Nam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4463C654-A8B9-4319-BAED-25C596A00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84801" y="1078812"/>
            <a:ext cx="2518949" cy="309138"/>
          </a:xfrm>
        </p:spPr>
        <p:txBody>
          <a:bodyPr anchor="ctr" anchorCtr="0"/>
          <a:lstStyle>
            <a:lvl1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1400" b="0" kern="1200" dirty="0" smtClean="0">
                <a:solidFill>
                  <a:schemeClr val="bg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29" name="TextBox 12">
            <a:extLst>
              <a:ext uri="{FF2B5EF4-FFF2-40B4-BE49-F238E27FC236}">
                <a16:creationId xmlns:a16="http://schemas.microsoft.com/office/drawing/2014/main" id="{0FD67E22-99F3-4712-A3D6-7BE37163E479}"/>
              </a:ext>
            </a:extLst>
          </p:cNvPr>
          <p:cNvSpPr txBox="1"/>
          <p:nvPr userDrawn="1"/>
        </p:nvSpPr>
        <p:spPr>
          <a:xfrm>
            <a:off x="623888" y="4702088"/>
            <a:ext cx="1405661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accent2"/>
                </a:solidFill>
                <a:latin typeface="+mj-lt"/>
              </a:rPr>
              <a:t>Industries</a:t>
            </a:r>
          </a:p>
        </p:txBody>
      </p:sp>
      <p:sp>
        <p:nvSpPr>
          <p:cNvPr id="30" name="TextBox 12">
            <a:extLst>
              <a:ext uri="{FF2B5EF4-FFF2-40B4-BE49-F238E27FC236}">
                <a16:creationId xmlns:a16="http://schemas.microsoft.com/office/drawing/2014/main" id="{EA8283F1-A873-4B62-AD0B-481D0E0A5A26}"/>
              </a:ext>
            </a:extLst>
          </p:cNvPr>
          <p:cNvSpPr txBox="1"/>
          <p:nvPr userDrawn="1"/>
        </p:nvSpPr>
        <p:spPr>
          <a:xfrm>
            <a:off x="623888" y="2861508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accent2"/>
                </a:solidFill>
                <a:latin typeface="+mj-lt"/>
              </a:rPr>
              <a:t>Education / Certificates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E62694EE-2775-4821-892A-C6D03DCFB2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284" y="3341418"/>
            <a:ext cx="3979466" cy="862834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E7A7F482-CE0D-405F-9290-0D3C227562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284" y="5162163"/>
            <a:ext cx="1691533" cy="1159123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36" name="Graphic 22">
            <a:extLst>
              <a:ext uri="{FF2B5EF4-FFF2-40B4-BE49-F238E27FC236}">
                <a16:creationId xmlns:a16="http://schemas.microsoft.com/office/drawing/2014/main" id="{731658BC-D048-4322-A27A-774D1DE3FC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37" name="TextBox 12">
            <a:extLst>
              <a:ext uri="{FF2B5EF4-FFF2-40B4-BE49-F238E27FC236}">
                <a16:creationId xmlns:a16="http://schemas.microsoft.com/office/drawing/2014/main" id="{E841F9B0-277D-4BC5-9B0A-78550E2A4253}"/>
              </a:ext>
            </a:extLst>
          </p:cNvPr>
          <p:cNvSpPr txBox="1"/>
          <p:nvPr userDrawn="1"/>
        </p:nvSpPr>
        <p:spPr>
          <a:xfrm>
            <a:off x="5220654" y="715619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tx2"/>
                </a:solidFill>
                <a:latin typeface="+mj-lt"/>
              </a:rPr>
              <a:t>Professional Focus</a:t>
            </a:r>
          </a:p>
        </p:txBody>
      </p:sp>
      <p:sp>
        <p:nvSpPr>
          <p:cNvPr id="38" name="TextBox 12">
            <a:extLst>
              <a:ext uri="{FF2B5EF4-FFF2-40B4-BE49-F238E27FC236}">
                <a16:creationId xmlns:a16="http://schemas.microsoft.com/office/drawing/2014/main" id="{71C4EA98-E57E-4655-A758-0925C98813E0}"/>
              </a:ext>
            </a:extLst>
          </p:cNvPr>
          <p:cNvSpPr txBox="1"/>
          <p:nvPr userDrawn="1"/>
        </p:nvSpPr>
        <p:spPr>
          <a:xfrm>
            <a:off x="8954353" y="715619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tx2"/>
                </a:solidFill>
                <a:latin typeface="+mj-lt"/>
              </a:rPr>
              <a:t>Relevant Experience</a:t>
            </a:r>
          </a:p>
        </p:txBody>
      </p:sp>
      <p:sp>
        <p:nvSpPr>
          <p:cNvPr id="43" name="TextBox 12">
            <a:extLst>
              <a:ext uri="{FF2B5EF4-FFF2-40B4-BE49-F238E27FC236}">
                <a16:creationId xmlns:a16="http://schemas.microsoft.com/office/drawing/2014/main" id="{41B4B6B6-B505-479B-893F-5B218DA0B87E}"/>
              </a:ext>
            </a:extLst>
          </p:cNvPr>
          <p:cNvSpPr txBox="1"/>
          <p:nvPr userDrawn="1"/>
        </p:nvSpPr>
        <p:spPr>
          <a:xfrm>
            <a:off x="5220654" y="3866725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tx2"/>
                </a:solidFill>
                <a:latin typeface="+mj-lt"/>
              </a:rPr>
              <a:t>Professional Background</a:t>
            </a:r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67C1B427-A3B0-4BD9-85FD-12598864DEF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20654" y="1197358"/>
            <a:ext cx="2929433" cy="2639146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3F9EC9EE-292D-4A28-BEE4-DFC6642AC1E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75756" y="1197358"/>
            <a:ext cx="2592357" cy="5123928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576FFAA8-1AD9-49A4-BE50-1BC5C44A295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20654" y="4225613"/>
            <a:ext cx="2929433" cy="2095673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Box 12">
            <a:extLst>
              <a:ext uri="{FF2B5EF4-FFF2-40B4-BE49-F238E27FC236}">
                <a16:creationId xmlns:a16="http://schemas.microsoft.com/office/drawing/2014/main" id="{E6CBF8F9-E2DA-432D-B816-9CFB6968EA92}"/>
              </a:ext>
            </a:extLst>
          </p:cNvPr>
          <p:cNvSpPr txBox="1"/>
          <p:nvPr userDrawn="1"/>
        </p:nvSpPr>
        <p:spPr>
          <a:xfrm>
            <a:off x="2690045" y="4702088"/>
            <a:ext cx="1405661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accent2"/>
                </a:solidFill>
                <a:latin typeface="+mj-lt"/>
              </a:rPr>
              <a:t>Languages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21A44DB-C707-4C6D-A67A-C2CC824034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90044" y="5162163"/>
            <a:ext cx="1865779" cy="1159123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18E36B0-CAF1-4A62-9EF3-AF35E353B6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84801" y="1634894"/>
            <a:ext cx="2518949" cy="862834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 kumimoji="0" lang="en-US" altLang="zh-M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kumimoji="0" lang="en-GB" altLang="zh-M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BearingPoint Address</a:t>
            </a:r>
          </a:p>
        </p:txBody>
      </p:sp>
    </p:spTree>
    <p:extLst>
      <p:ext uri="{BB962C8B-B14F-4D97-AF65-F5344CB8AC3E}">
        <p14:creationId xmlns:p14="http://schemas.microsoft.com/office/powerpoint/2010/main" val="3308729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921B6F65-DC7E-4564-B0B1-327BED38BC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97DDF472-E24C-4F1C-A0D3-A1A5647EE7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2" name="Graphic 22">
            <a:extLst>
              <a:ext uri="{FF2B5EF4-FFF2-40B4-BE49-F238E27FC236}">
                <a16:creationId xmlns:a16="http://schemas.microsoft.com/office/drawing/2014/main" id="{7ABCD871-88F8-4F4D-AF5B-FC4472490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28" name="Image 9">
            <a:extLst>
              <a:ext uri="{FF2B5EF4-FFF2-40B4-BE49-F238E27FC236}">
                <a16:creationId xmlns:a16="http://schemas.microsoft.com/office/drawing/2014/main" id="{4E4B90D4-8E8A-4EA4-8F60-DCC3391CF43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533534" y="1971480"/>
            <a:ext cx="6278252" cy="3687064"/>
          </a:xfrm>
          <a:prstGeom prst="rect">
            <a:avLst/>
          </a:prstGeom>
        </p:spPr>
      </p:pic>
      <p:sp>
        <p:nvSpPr>
          <p:cNvPr id="29" name="Espace réservé pour une image  2">
            <a:extLst>
              <a:ext uri="{FF2B5EF4-FFF2-40B4-BE49-F238E27FC236}">
                <a16:creationId xmlns:a16="http://schemas.microsoft.com/office/drawing/2014/main" id="{4589F180-D102-42EB-B282-FCC03EB535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07931" y="2231230"/>
            <a:ext cx="4731544" cy="295989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8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97555282-95F1-4C07-954C-4168E28D8C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001DBB0E-39EE-41B6-B341-E9B509DE23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0" name="Graphic 22">
            <a:extLst>
              <a:ext uri="{FF2B5EF4-FFF2-40B4-BE49-F238E27FC236}">
                <a16:creationId xmlns:a16="http://schemas.microsoft.com/office/drawing/2014/main" id="{A0017530-C44F-43F2-AE0E-E6763B0578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20" name="Image 10">
            <a:extLst>
              <a:ext uri="{FF2B5EF4-FFF2-40B4-BE49-F238E27FC236}">
                <a16:creationId xmlns:a16="http://schemas.microsoft.com/office/drawing/2014/main" id="{F357BF8C-457A-4EA8-A1A9-4F132C632F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20220" y="1468131"/>
            <a:ext cx="3304880" cy="4633312"/>
          </a:xfrm>
          <a:prstGeom prst="rect">
            <a:avLst/>
          </a:prstGeom>
        </p:spPr>
      </p:pic>
      <p:sp>
        <p:nvSpPr>
          <p:cNvPr id="21" name="Espace réservé pour une image  2">
            <a:extLst>
              <a:ext uri="{FF2B5EF4-FFF2-40B4-BE49-F238E27FC236}">
                <a16:creationId xmlns:a16="http://schemas.microsoft.com/office/drawing/2014/main" id="{99685A86-1D3B-41FD-B36F-85CC9192D9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83450" y="1928814"/>
            <a:ext cx="2774156" cy="37052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173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phone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65CA6B81-4DD4-4D81-91C7-76E9370AF5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2" name="Graphic 22">
            <a:extLst>
              <a:ext uri="{FF2B5EF4-FFF2-40B4-BE49-F238E27FC236}">
                <a16:creationId xmlns:a16="http://schemas.microsoft.com/office/drawing/2014/main" id="{CF12F35B-4DF9-4EEA-ACB9-42F19C1068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31" name="Image 9">
            <a:extLst>
              <a:ext uri="{FF2B5EF4-FFF2-40B4-BE49-F238E27FC236}">
                <a16:creationId xmlns:a16="http://schemas.microsoft.com/office/drawing/2014/main" id="{4B7A52C0-350D-45D2-8DA6-237153D563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55463" y="1560206"/>
            <a:ext cx="2434394" cy="4459594"/>
          </a:xfrm>
          <a:prstGeom prst="rect">
            <a:avLst/>
          </a:prstGeom>
        </p:spPr>
      </p:pic>
      <p:sp>
        <p:nvSpPr>
          <p:cNvPr id="32" name="Espace réservé pour une image  2">
            <a:extLst>
              <a:ext uri="{FF2B5EF4-FFF2-40B4-BE49-F238E27FC236}">
                <a16:creationId xmlns:a16="http://schemas.microsoft.com/office/drawing/2014/main" id="{2AD37720-83A9-48DD-9A80-31E2F97122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063" y="2147887"/>
            <a:ext cx="1862930" cy="329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03C65A44-B5D9-4B61-8951-86F1E2CAD3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6164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orient="horz" pos="392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A829859B-BEDB-4EE6-8FBB-7FAA00ACD2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06532" y="1628775"/>
            <a:ext cx="5261580" cy="44862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895159-EF8E-483A-B23D-9F4D082BD5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1628775"/>
            <a:ext cx="5261580" cy="44862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82CFEC60-8A31-480A-B4C9-65A5C05FE13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7" y="917325"/>
            <a:ext cx="10944225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1399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A829859B-BEDB-4EE6-8FBB-7FAA00ACD2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400035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895159-EF8E-483A-B23D-9F4D082BD5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Espace réservé pour une image  2">
            <a:extLst>
              <a:ext uri="{FF2B5EF4-FFF2-40B4-BE49-F238E27FC236}">
                <a16:creationId xmlns:a16="http://schemas.microsoft.com/office/drawing/2014/main" id="{6E638EAA-0D75-402D-A97B-CB436517B4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76182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F8DF4B3B-9680-4753-BD83-79F5EDD0BA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7" y="917325"/>
            <a:ext cx="10944225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02437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1304AD92-A926-4829-A590-C49B112E415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358438" y="4191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23C40BE-7E5F-40E5-913E-F5D6D2331811}"/>
              </a:ext>
            </a:extLst>
          </p:cNvPr>
          <p:cNvSpPr/>
          <p:nvPr userDrawn="1"/>
        </p:nvSpPr>
        <p:spPr>
          <a:xfrm>
            <a:off x="623887" y="6098448"/>
            <a:ext cx="376238" cy="23888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8D6B6DE-2673-44A2-9901-4A07D74E7965}"/>
              </a:ext>
            </a:extLst>
          </p:cNvPr>
          <p:cNvSpPr txBox="1">
            <a:spLocks/>
          </p:cNvSpPr>
          <p:nvPr userDrawn="1"/>
        </p:nvSpPr>
        <p:spPr>
          <a:xfrm>
            <a:off x="650081" y="6103211"/>
            <a:ext cx="323850" cy="227211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ag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36AF437-7EEF-4E82-AC7D-64037FD7A3E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85851" y="6136024"/>
            <a:ext cx="160496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4pPr marL="374640" indent="0">
              <a:buFont typeface="Arial" panose="020B0604020202020204" pitchFamily="34" charset="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3"/>
            <a:r>
              <a:rPr lang="en-US" noProof="0"/>
              <a:t>Country</a:t>
            </a:r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BC23F954-5045-458A-B3A1-C5F5FC8F69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517101"/>
            <a:ext cx="9625012" cy="36933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819F818A-AA71-437B-8F94-166CBF4E3B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962501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4258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&amp;W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C2E2615-45E4-5C01-5276-D157C40F7A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208" r="26235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7980A3CE-95C9-42C1-9954-2B73BAB3ABB3}"/>
              </a:ext>
            </a:extLst>
          </p:cNvPr>
          <p:cNvSpPr/>
          <p:nvPr userDrawn="1"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Rectangle 19">
            <a:extLst>
              <a:ext uri="{FF2B5EF4-FFF2-40B4-BE49-F238E27FC236}">
                <a16:creationId xmlns:a16="http://schemas.microsoft.com/office/drawing/2014/main" id="{4C548247-E589-6BDD-1CA3-6A676E1E48F7}"/>
              </a:ext>
            </a:extLst>
          </p:cNvPr>
          <p:cNvSpPr/>
          <p:nvPr userDrawn="1"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rgbClr val="262626">
              <a:alpha val="32157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7422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1295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&amp; pictur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FF6C77F-EEBB-4E11-8B84-7B1F8ED711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12" y="0"/>
            <a:ext cx="12198024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432C314-FC93-4C1B-811E-057CEB8F6131}"/>
              </a:ext>
            </a:extLst>
          </p:cNvPr>
          <p:cNvSpPr/>
          <p:nvPr userDrawn="1"/>
        </p:nvSpPr>
        <p:spPr>
          <a:xfrm>
            <a:off x="0" y="0"/>
            <a:ext cx="12191998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4BBDCF5-C556-4BA9-A4E7-5A71DF5CCD5E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chemeClr val="accent2">
                  <a:alpha val="90000"/>
                </a:schemeClr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633054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B&amp;W &amp; picture - cen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FF6C77F-EEBB-4E11-8B84-7B1F8ED711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12" y="0"/>
            <a:ext cx="12198024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432C314-FC93-4C1B-811E-057CEB8F6131}"/>
              </a:ext>
            </a:extLst>
          </p:cNvPr>
          <p:cNvSpPr/>
          <p:nvPr userDrawn="1"/>
        </p:nvSpPr>
        <p:spPr>
          <a:xfrm>
            <a:off x="0" y="0"/>
            <a:ext cx="12191998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40791146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 Blue - Cente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21BC571-7584-429D-ACA0-4CE6A223D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37668040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een -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3957742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ts val="5400"/>
              </a:lnSpc>
              <a:defRPr lang="en-US" sz="4800" b="1" dirty="0" smtClean="0">
                <a:gradFill>
                  <a:gsLst>
                    <a:gs pos="0">
                      <a:schemeClr val="accent2"/>
                    </a:gs>
                    <a:gs pos="86000">
                      <a:schemeClr val="accent1"/>
                    </a:gs>
                  </a:gsLst>
                  <a:lin ang="2700000" scaled="0"/>
                </a:gradFill>
                <a:latin typeface="+mn-lt"/>
                <a:cs typeface="+mn-cs"/>
              </a:defRPr>
            </a:lvl1pPr>
          </a:lstStyle>
          <a:p>
            <a:pPr lvl="0" defTabSz="457200">
              <a:lnSpc>
                <a:spcPct val="100000"/>
              </a:lnSpc>
              <a:spcAft>
                <a:spcPts val="0"/>
              </a:spcAft>
              <a:buFontTx/>
            </a:pPr>
            <a:r>
              <a:rPr lang="en-US"/>
              <a:t>Key message</a:t>
            </a:r>
          </a:p>
        </p:txBody>
      </p:sp>
      <p:pic>
        <p:nvPicPr>
          <p:cNvPr id="5" name="Graphic 22">
            <a:extLst>
              <a:ext uri="{FF2B5EF4-FFF2-40B4-BE49-F238E27FC236}">
                <a16:creationId xmlns:a16="http://schemas.microsoft.com/office/drawing/2014/main" id="{D0075C18-B716-43EA-9120-6F496F3109D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6886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- Cente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2AD501A-AD9B-422F-BC38-A8D4766F990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AADEAE3-3EA8-428E-BCA2-61174AB8C3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33363071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AE68CF5-BE35-41D8-987E-89EC643CF1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FE163525-35D9-46B1-A335-A0CC467781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B6059E7-F239-4041-BFFD-1060300A5CA7}"/>
              </a:ext>
            </a:extLst>
          </p:cNvPr>
          <p:cNvSpPr/>
          <p:nvPr userDrawn="1"/>
        </p:nvSpPr>
        <p:spPr>
          <a:xfrm>
            <a:off x="8883382" y="-1"/>
            <a:ext cx="3308618" cy="3728019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11" name="Graphique 17">
            <a:extLst>
              <a:ext uri="{FF2B5EF4-FFF2-40B4-BE49-F238E27FC236}">
                <a16:creationId xmlns:a16="http://schemas.microsoft.com/office/drawing/2014/main" id="{66A1378D-6BAB-45C2-BF80-821EC686C99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09627" y="636997"/>
            <a:ext cx="170630" cy="170630"/>
          </a:xfrm>
          <a:prstGeom prst="rect">
            <a:avLst/>
          </a:prstGeom>
        </p:spPr>
      </p:pic>
      <p:pic>
        <p:nvPicPr>
          <p:cNvPr id="12" name="Graphique 18">
            <a:extLst>
              <a:ext uri="{FF2B5EF4-FFF2-40B4-BE49-F238E27FC236}">
                <a16:creationId xmlns:a16="http://schemas.microsoft.com/office/drawing/2014/main" id="{F49CD148-3EBF-497E-BF86-936A964388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6372" y="1007841"/>
            <a:ext cx="189590" cy="145352"/>
          </a:xfrm>
          <a:prstGeom prst="rect">
            <a:avLst/>
          </a:prstGeom>
        </p:spPr>
      </p:pic>
      <p:cxnSp>
        <p:nvCxnSpPr>
          <p:cNvPr id="13" name="Connecteur droit 20">
            <a:extLst>
              <a:ext uri="{FF2B5EF4-FFF2-40B4-BE49-F238E27FC236}">
                <a16:creationId xmlns:a16="http://schemas.microsoft.com/office/drawing/2014/main" id="{1E8D30A6-86CE-4371-97C8-AC8C0C1B0743}"/>
              </a:ext>
            </a:extLst>
          </p:cNvPr>
          <p:cNvCxnSpPr>
            <a:cxnSpLocks/>
          </p:cNvCxnSpPr>
          <p:nvPr userDrawn="1"/>
        </p:nvCxnSpPr>
        <p:spPr>
          <a:xfrm>
            <a:off x="9316372" y="1696466"/>
            <a:ext cx="386160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A4A7E8-B058-4072-BBDE-74AADF8D7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8" y="2842865"/>
            <a:ext cx="6721475" cy="2136775"/>
          </a:xfrm>
          <a:noFill/>
        </p:spPr>
        <p:txBody>
          <a:bodyPr/>
          <a:lstStyle>
            <a:lvl1pPr>
              <a:defRPr sz="5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Espace réservé du texte 9">
            <a:extLst>
              <a:ext uri="{FF2B5EF4-FFF2-40B4-BE49-F238E27FC236}">
                <a16:creationId xmlns:a16="http://schemas.microsoft.com/office/drawing/2014/main" id="{5817E426-6146-4666-828B-226889FEA37C}"/>
              </a:ext>
            </a:extLst>
          </p:cNvPr>
          <p:cNvSpPr txBox="1">
            <a:spLocks/>
          </p:cNvSpPr>
          <p:nvPr userDrawn="1"/>
        </p:nvSpPr>
        <p:spPr>
          <a:xfrm>
            <a:off x="623888" y="6091570"/>
            <a:ext cx="1919685" cy="6235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457189" rtl="0" eaLnBrk="1" latinLnBrk="0" hangingPunct="1">
              <a:spcBef>
                <a:spcPts val="1200"/>
              </a:spcBef>
              <a:spcAft>
                <a:spcPts val="30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GB" sz="1400" b="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796" indent="-177796" algn="l" defTabSz="457189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lang="en-GB" sz="14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42" indent="-180970" algn="l" defTabSz="514338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alibri" pitchFamily="34" charset="0"/>
              <a:buChar char="−"/>
              <a:defRPr lang="en-GB" sz="14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61" indent="-161921" algn="l" defTabSz="457189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itchFamily="49" charset="0"/>
              <a:buChar char="o"/>
              <a:tabLst/>
              <a:defRPr lang="en-GB" sz="12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2780" indent="-165096" algn="l" defTabSz="457189" rtl="0" eaLnBrk="1" latinLnBrk="0" hangingPunct="1">
              <a:spcBef>
                <a:spcPts val="0"/>
              </a:spcBef>
              <a:buClr>
                <a:srgbClr val="D52B1E"/>
              </a:buClr>
              <a:buFont typeface="Calibri" pitchFamily="34" charset="0"/>
              <a:buChar char="-"/>
              <a:tabLst/>
              <a:defRPr lang="en-GB" sz="1100" kern="1200" noProof="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200">
                <a:solidFill>
                  <a:schemeClr val="bg1"/>
                </a:solidFill>
              </a:rPr>
              <a:t>www.bearingpoint.com</a:t>
            </a:r>
          </a:p>
        </p:txBody>
      </p:sp>
    </p:spTree>
    <p:extLst>
      <p:ext uri="{BB962C8B-B14F-4D97-AF65-F5344CB8AC3E}">
        <p14:creationId xmlns:p14="http://schemas.microsoft.com/office/powerpoint/2010/main" val="14810706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aringPoint Logo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E19149A-C143-40CA-9518-C5427B0C76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14" name="Graphic 22">
            <a:extLst>
              <a:ext uri="{FF2B5EF4-FFF2-40B4-BE49-F238E27FC236}">
                <a16:creationId xmlns:a16="http://schemas.microsoft.com/office/drawing/2014/main" id="{B0ABA653-F417-4416-82DD-01FB0CEE3D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10025" y="3095149"/>
            <a:ext cx="4171950" cy="667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6929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urple Divi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5B81D735-5959-4BE7-B602-2415CB7572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3420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">
            <a:extLst>
              <a:ext uri="{FF2B5EF4-FFF2-40B4-BE49-F238E27FC236}">
                <a16:creationId xmlns:a16="http://schemas.microsoft.com/office/drawing/2014/main" id="{DB5CE587-00E6-4AED-B8A6-DEB034F4A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-2" y="0"/>
            <a:ext cx="12191999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A268BF61-BD91-4208-95EA-8BEA5E5822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65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ink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2561BC8E-BFFD-4037-BA1A-2F1F68F79F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69111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Message  Purple - Cente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21BC571-7584-429D-ACA0-4CE6A223D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1837743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Message Pink -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23042314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lumns text 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40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lumns text Pink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714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46D3151-25A0-4DAA-932E-25B89A75A3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0EAEC6-A20E-40E6-BA0D-8C1A63780B40}"/>
              </a:ext>
            </a:extLst>
          </p:cNvPr>
          <p:cNvSpPr/>
          <p:nvPr userDrawn="1"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4695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F9DC38-BF2B-4966-BEBE-6429588447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3E03B79-5187-4781-8B46-50077B0460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806C49-1226-4067-BF64-EBDCCB1EEFAB}"/>
              </a:ext>
            </a:extLst>
          </p:cNvPr>
          <p:cNvSpPr/>
          <p:nvPr userDrawn="1"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9608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&amp;W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DA63BBCD-5BAB-53E5-52F0-65AD5839FB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18847CF-4482-4363-9381-3889ED480985}"/>
              </a:ext>
            </a:extLst>
          </p:cNvPr>
          <p:cNvSpPr/>
          <p:nvPr userDrawn="1"/>
        </p:nvSpPr>
        <p:spPr>
          <a:xfrm>
            <a:off x="0" y="-2"/>
            <a:ext cx="12192000" cy="6858000"/>
          </a:xfrm>
          <a:prstGeom prst="rect">
            <a:avLst/>
          </a:prstGeom>
          <a:solidFill>
            <a:srgbClr val="262626">
              <a:alpha val="32157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980A3CE-95C9-42C1-9954-2B73BAB3ABB3}"/>
              </a:ext>
            </a:extLst>
          </p:cNvPr>
          <p:cNvSpPr/>
          <p:nvPr userDrawn="1"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6823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">
            <a:extLst>
              <a:ext uri="{FF2B5EF4-FFF2-40B4-BE49-F238E27FC236}">
                <a16:creationId xmlns:a16="http://schemas.microsoft.com/office/drawing/2014/main" id="{DB5CE587-00E6-4AED-B8A6-DEB034F4A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-2" y="0"/>
            <a:ext cx="12191999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A268BF61-BD91-4208-95EA-8BEA5E5822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279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A84B023-9855-45DC-B913-517B6446B410}"/>
              </a:ext>
            </a:extLst>
          </p:cNvPr>
          <p:cNvSpPr/>
          <p:nvPr userDrawn="1"/>
        </p:nvSpPr>
        <p:spPr>
          <a:xfrm>
            <a:off x="4760536" y="0"/>
            <a:ext cx="7431463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 err="1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gradFill>
                  <a:gsLst>
                    <a:gs pos="0">
                      <a:schemeClr val="accent2"/>
                    </a:gs>
                    <a:gs pos="86000">
                      <a:schemeClr val="accent1"/>
                    </a:gs>
                  </a:gsLst>
                  <a:lin ang="2700000" scaled="0"/>
                </a:gra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29" name="Graphic 22">
            <a:extLst>
              <a:ext uri="{FF2B5EF4-FFF2-40B4-BE49-F238E27FC236}">
                <a16:creationId xmlns:a16="http://schemas.microsoft.com/office/drawing/2014/main" id="{9498E08C-AD5C-4695-A985-4D3952C32D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985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A84B023-9855-45DC-B913-517B6446B410}"/>
              </a:ext>
            </a:extLst>
          </p:cNvPr>
          <p:cNvSpPr/>
          <p:nvPr userDrawn="1"/>
        </p:nvSpPr>
        <p:spPr>
          <a:xfrm>
            <a:off x="4760536" y="0"/>
            <a:ext cx="7431463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 err="1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gradFill>
                  <a:gsLst>
                    <a:gs pos="0">
                      <a:schemeClr val="accent2"/>
                    </a:gs>
                    <a:gs pos="86000">
                      <a:schemeClr val="accent1"/>
                    </a:gs>
                  </a:gsLst>
                  <a:lin ang="2700000" scaled="0"/>
                </a:gra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29" name="Graphic 22">
            <a:extLst>
              <a:ext uri="{FF2B5EF4-FFF2-40B4-BE49-F238E27FC236}">
                <a16:creationId xmlns:a16="http://schemas.microsoft.com/office/drawing/2014/main" id="{9498E08C-AD5C-4695-A985-4D3952C32D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78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B&amp;W ">
    <p:bg>
      <p:bgPr>
        <a:blipFill dpi="0" rotWithShape="1">
          <a:blip r:embed="rId2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16998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096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Divider &amp;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B9B755C-A813-4478-97D8-221419C0CB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A29147A-E282-4A23-A176-9828642E383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FD5246D4-8081-4C33-86D4-DEC6CD69B19D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327E93BC-0553-4656-BB86-58CD3A78CE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2179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&amp;W divider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89C769-06F4-4C3D-8FA7-7FBD87554F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177"/>
            <a:ext cx="12192000" cy="686235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C133AB-4ED4-4A84-A2B5-1FC5F934F5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FD5246D4-8081-4C33-86D4-DEC6CD69B19D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327E93BC-0553-4656-BB86-58CD3A78CE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8715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urple Divi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5B81D735-5959-4BE7-B602-2415CB7572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15035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2561BC8E-BFFD-4037-BA1A-2F1F68F79F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06039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2AD501A-AD9B-422F-BC38-A8D4766F990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B1F17EE-6AB9-4C97-B107-6061ADD798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35582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wo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2437"/>
            <a:ext cx="1377040" cy="220391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/>
        </p:nvSpPr>
        <p:spPr>
          <a:xfrm>
            <a:off x="5821054" y="6498348"/>
            <a:ext cx="549897" cy="211193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900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r.›</a:t>
            </a:fld>
            <a:endParaRPr lang="en-US" sz="900" noProof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3143266-90AC-43BA-A67F-873DBBE440E1}"/>
              </a:ext>
            </a:extLst>
          </p:cNvPr>
          <p:cNvCxnSpPr>
            <a:cxnSpLocks/>
          </p:cNvCxnSpPr>
          <p:nvPr userDrawn="1"/>
        </p:nvCxnSpPr>
        <p:spPr>
          <a:xfrm>
            <a:off x="468313" y="161398"/>
            <a:ext cx="0" cy="1060977"/>
          </a:xfrm>
          <a:prstGeom prst="line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045BAF1D-5264-4B39-B691-686C360A3F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61398"/>
            <a:ext cx="10944224" cy="307467"/>
          </a:xfrm>
        </p:spPr>
        <p:txBody>
          <a:bodyPr anchor="t"/>
          <a:lstStyle>
            <a:lvl1pPr>
              <a:buFontTx/>
              <a:buNone/>
              <a:defRPr sz="1400" cap="all" spc="300" baseline="0">
                <a:latin typeface="+mj-lt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67" indent="0">
              <a:buFontTx/>
              <a:buNone/>
              <a:defRPr/>
            </a:lvl3pPr>
            <a:lvl4pPr marL="374631" indent="0">
              <a:buFontTx/>
              <a:buNone/>
              <a:defRPr/>
            </a:lvl4pPr>
            <a:lvl5pPr marL="647668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59F7277-1820-4807-BFF6-3D688E8F3384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623888" y="509481"/>
            <a:ext cx="10944225" cy="369334"/>
          </a:xfrm>
        </p:spPr>
        <p:txBody>
          <a:bodyPr anchor="t"/>
          <a:lstStyle>
            <a:lvl1pPr>
              <a:defRPr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defRPr>
            </a:lvl1pPr>
          </a:lstStyle>
          <a:p>
            <a:r>
              <a:rPr lang="en-US"/>
              <a:t>Title</a:t>
            </a:r>
            <a:endParaRPr lang="cs-CZ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DF73E51F-1D3F-81EB-6AA8-63AE6C7883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1628775"/>
            <a:ext cx="10944225" cy="42100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lnSpc>
                <a:spcPct val="130000"/>
              </a:lnSpc>
              <a:spcAft>
                <a:spcPts val="300"/>
              </a:spcAft>
              <a:defRPr>
                <a:latin typeface="+mn-lt"/>
              </a:defRPr>
            </a:lvl4pPr>
            <a:lvl5pPr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  <a:buSzPct val="60000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346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917325"/>
            <a:ext cx="10944224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E4EB6C-3D5C-4105-8C49-7F9DE26BA9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628775"/>
            <a:ext cx="10944225" cy="42100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lnSpc>
                <a:spcPct val="130000"/>
              </a:lnSpc>
              <a:spcAft>
                <a:spcPts val="300"/>
              </a:spcAft>
              <a:defRPr>
                <a:latin typeface="+mn-lt"/>
              </a:defRPr>
            </a:lvl4pPr>
            <a:lvl5pPr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  <a:buSzPct val="60000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3359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917325"/>
            <a:ext cx="10944224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8662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A44BD718-C874-4D66-B650-3D63B5459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95D67AEE-74D2-439C-AB83-0F4DCBB8C6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9983C4-1894-404D-9151-2075CE8B1B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tx1"/>
                </a:solidFill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defRPr lang="en-US" smtClean="0">
                <a:solidFill>
                  <a:schemeClr val="tx1"/>
                </a:solidFill>
              </a:defRPr>
            </a:lvl3pPr>
            <a:lvl4pPr>
              <a:defRPr lang="en-US" smtClean="0">
                <a:solidFill>
                  <a:schemeClr val="tx1"/>
                </a:solidFill>
              </a:defRPr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C098735-6E4A-4D3B-8F11-A662609E555D}"/>
              </a:ext>
            </a:extLst>
          </p:cNvPr>
          <p:cNvSpPr/>
          <p:nvPr userDrawn="1"/>
        </p:nvSpPr>
        <p:spPr>
          <a:xfrm>
            <a:off x="5915025" y="6420979"/>
            <a:ext cx="314325" cy="22039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17682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">
            <a:extLst>
              <a:ext uri="{FF2B5EF4-FFF2-40B4-BE49-F238E27FC236}">
                <a16:creationId xmlns:a16="http://schemas.microsoft.com/office/drawing/2014/main" id="{34B79FDB-9C8B-4118-B598-85B0C817C0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-2" y="0"/>
            <a:ext cx="12191999" cy="685800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001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6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095DA2FA-1741-4D2B-B08C-129D74074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DBD28D12-AA61-4AF0-ABD0-23697F0476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8E913D8-7CB3-4B88-AB38-30DDB1466C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tx1"/>
                </a:solidFill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defRPr lang="en-US" smtClean="0">
                <a:solidFill>
                  <a:schemeClr val="tx1"/>
                </a:solidFill>
              </a:defRPr>
            </a:lvl3pPr>
            <a:lvl4pPr>
              <a:defRPr lang="en-US" smtClean="0">
                <a:solidFill>
                  <a:schemeClr val="tx1"/>
                </a:solidFill>
              </a:defRPr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D17DEC-CD49-4928-9176-45F3BD241606}"/>
              </a:ext>
            </a:extLst>
          </p:cNvPr>
          <p:cNvSpPr/>
          <p:nvPr userDrawn="1"/>
        </p:nvSpPr>
        <p:spPr>
          <a:xfrm>
            <a:off x="5915025" y="6420979"/>
            <a:ext cx="314325" cy="22039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42EC5DE7-3E80-4C68-890A-E3D664FBE1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3428993"/>
            <a:ext cx="6096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58188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Espace réservé pour une image  2">
            <a:extLst>
              <a:ext uri="{FF2B5EF4-FFF2-40B4-BE49-F238E27FC236}">
                <a16:creationId xmlns:a16="http://schemas.microsoft.com/office/drawing/2014/main" id="{E7605A3B-0179-473B-9CB6-CC5A493B96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44001" y="0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Espace réservé pour une image  2">
            <a:extLst>
              <a:ext uri="{FF2B5EF4-FFF2-40B4-BE49-F238E27FC236}">
                <a16:creationId xmlns:a16="http://schemas.microsoft.com/office/drawing/2014/main" id="{15060EE6-A355-453C-AA84-ABCFFCC6CA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4001" y="3428993"/>
            <a:ext cx="3048000" cy="34289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706603BD-449F-4146-BC92-4D9C5E9D7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raphic 22">
            <a:extLst>
              <a:ext uri="{FF2B5EF4-FFF2-40B4-BE49-F238E27FC236}">
                <a16:creationId xmlns:a16="http://schemas.microsoft.com/office/drawing/2014/main" id="{D3BCF6FE-1697-4B69-BF27-4D3C981A27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9F7F2BB-4F6E-413F-8B6C-741A21A2D1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1628775"/>
            <a:ext cx="5135562" cy="462915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>
                <a:solidFill>
                  <a:schemeClr val="tx1"/>
                </a:solidFill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defRPr lang="en-US" smtClean="0">
                <a:solidFill>
                  <a:schemeClr val="tx1"/>
                </a:solidFill>
              </a:defRPr>
            </a:lvl3pPr>
            <a:lvl4pPr>
              <a:defRPr lang="en-US" smtClean="0">
                <a:solidFill>
                  <a:schemeClr val="tx1"/>
                </a:solidFill>
              </a:defRPr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26DFCB-03E7-4126-A3E8-DBCCEC51F5B2}"/>
              </a:ext>
            </a:extLst>
          </p:cNvPr>
          <p:cNvSpPr/>
          <p:nvPr userDrawn="1"/>
        </p:nvSpPr>
        <p:spPr>
          <a:xfrm>
            <a:off x="5915025" y="6420979"/>
            <a:ext cx="314325" cy="22039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42EC5DE7-3E80-4C68-890A-E3D664FBE1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3428993"/>
            <a:ext cx="3048000" cy="342900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9007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text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BD8D428F-1999-4CD7-803A-0499EFBBC9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3732213"/>
            <a:ext cx="5021262" cy="19446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85373431-056A-4064-9619-EA69252277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0025" y="517101"/>
            <a:ext cx="5018088" cy="19431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598D7C8E-D578-4DD4-862C-7D2255F6F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8D0377-E092-44FD-9E10-2B55E4AC6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879600"/>
            <a:ext cx="5021262" cy="154939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fr-FR"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D20D25-472D-4874-8F4C-9AD56601BB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2743200"/>
            <a:ext cx="5021262" cy="29337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fr-FR" sz="12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6832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lumns text 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309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lumns text Blue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181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text Blac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 marL="0" indent="0">
              <a:defRPr>
                <a:solidFill>
                  <a:schemeClr val="bg1"/>
                </a:solidFill>
              </a:defRPr>
            </a:lvl5pPr>
          </a:lstStyle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505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CD9725D-EA1E-4B70-B6EC-DB2F0E4A81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7038" y="571500"/>
            <a:ext cx="8680450" cy="5734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Click to add image</a:t>
            </a:r>
            <a:endParaRPr lang="en-US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362D5DB-01A7-4F16-92C7-0A276E1D05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21699" y="1808163"/>
            <a:ext cx="3243171" cy="32416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288000" rIns="432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0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pPr lvl="0" defTabSz="519488">
              <a:lnSpc>
                <a:spcPct val="120000"/>
              </a:lnSpc>
            </a:pPr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8915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box Full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CD9725D-EA1E-4B70-B6EC-DB2F0E4A81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948829" cy="6857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362D5DB-01A7-4F16-92C7-0A276E1D05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48829" y="1"/>
            <a:ext cx="3243171" cy="68579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288000" rIns="432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0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pPr lvl="0" defTabSz="519488">
              <a:lnSpc>
                <a:spcPct val="120000"/>
              </a:lnSpc>
            </a:pPr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6" name="Graphic 22">
            <a:extLst>
              <a:ext uri="{FF2B5EF4-FFF2-40B4-BE49-F238E27FC236}">
                <a16:creationId xmlns:a16="http://schemas.microsoft.com/office/drawing/2014/main" id="{E58B5C9E-B015-4AC2-AB46-7A889B1EC4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885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3BF210B-C9AE-45D8-9822-202661E8CF7D}"/>
              </a:ext>
            </a:extLst>
          </p:cNvPr>
          <p:cNvSpPr/>
          <p:nvPr userDrawn="1"/>
        </p:nvSpPr>
        <p:spPr>
          <a:xfrm>
            <a:off x="4760536" y="0"/>
            <a:ext cx="7431463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 err="1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B8B3202-7FDD-4BFB-A1D6-B9EB95658B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3563" y="658813"/>
            <a:ext cx="1036637" cy="1446212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7B660C6C-94BB-4C4F-8BD7-78DC86A9A0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888" y="712788"/>
            <a:ext cx="1096962" cy="1506537"/>
          </a:xfrm>
          <a:prstGeom prst="rect">
            <a:avLst/>
          </a:prstGeom>
          <a:effectLst>
            <a:outerShdw blurRad="127000" dist="292100" dir="5400000" sx="82000" sy="82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cxnSp>
        <p:nvCxnSpPr>
          <p:cNvPr id="4" name="Connecteur droit 25">
            <a:extLst>
              <a:ext uri="{FF2B5EF4-FFF2-40B4-BE49-F238E27FC236}">
                <a16:creationId xmlns:a16="http://schemas.microsoft.com/office/drawing/2014/main" id="{9E1496CB-D8FA-4ACD-801C-EAF51068845F}"/>
              </a:ext>
            </a:extLst>
          </p:cNvPr>
          <p:cNvCxnSpPr>
            <a:cxnSpLocks/>
          </p:cNvCxnSpPr>
          <p:nvPr userDrawn="1"/>
        </p:nvCxnSpPr>
        <p:spPr>
          <a:xfrm>
            <a:off x="2084801" y="1538793"/>
            <a:ext cx="385349" cy="0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2E94EC5A-C7D4-45A5-9121-6C36CD281C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84801" y="773881"/>
            <a:ext cx="2518949" cy="354625"/>
          </a:xfrm>
        </p:spPr>
        <p:txBody>
          <a:bodyPr/>
          <a:lstStyle>
            <a:lvl1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2050" b="1" kern="1200" dirty="0" smtClean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Surname Name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4463C654-A8B9-4319-BAED-25C596A00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84801" y="1128507"/>
            <a:ext cx="2518949" cy="309138"/>
          </a:xfrm>
        </p:spPr>
        <p:txBody>
          <a:bodyPr anchor="ctr" anchorCtr="0"/>
          <a:lstStyle>
            <a:lvl1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1400" b="0" kern="1200" dirty="0" smtClean="0">
                <a:solidFill>
                  <a:schemeClr val="bg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29" name="TextBox 12">
            <a:extLst>
              <a:ext uri="{FF2B5EF4-FFF2-40B4-BE49-F238E27FC236}">
                <a16:creationId xmlns:a16="http://schemas.microsoft.com/office/drawing/2014/main" id="{0FD67E22-99F3-4712-A3D6-7BE37163E479}"/>
              </a:ext>
            </a:extLst>
          </p:cNvPr>
          <p:cNvSpPr txBox="1"/>
          <p:nvPr userDrawn="1"/>
        </p:nvSpPr>
        <p:spPr>
          <a:xfrm>
            <a:off x="623888" y="4702088"/>
            <a:ext cx="1405661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accent2"/>
                </a:solidFill>
                <a:latin typeface="+mj-lt"/>
              </a:rPr>
              <a:t>Industries</a:t>
            </a:r>
          </a:p>
        </p:txBody>
      </p:sp>
      <p:sp>
        <p:nvSpPr>
          <p:cNvPr id="30" name="TextBox 12">
            <a:extLst>
              <a:ext uri="{FF2B5EF4-FFF2-40B4-BE49-F238E27FC236}">
                <a16:creationId xmlns:a16="http://schemas.microsoft.com/office/drawing/2014/main" id="{EA8283F1-A873-4B62-AD0B-481D0E0A5A26}"/>
              </a:ext>
            </a:extLst>
          </p:cNvPr>
          <p:cNvSpPr txBox="1"/>
          <p:nvPr userDrawn="1"/>
        </p:nvSpPr>
        <p:spPr>
          <a:xfrm>
            <a:off x="623888" y="2861508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accent2"/>
                </a:solidFill>
                <a:latin typeface="+mj-lt"/>
              </a:rPr>
              <a:t>Education / Certificates</a:t>
            </a:r>
          </a:p>
        </p:txBody>
      </p:sp>
      <p:sp>
        <p:nvSpPr>
          <p:cNvPr id="31" name="TextBox 12">
            <a:extLst>
              <a:ext uri="{FF2B5EF4-FFF2-40B4-BE49-F238E27FC236}">
                <a16:creationId xmlns:a16="http://schemas.microsoft.com/office/drawing/2014/main" id="{42FEA6FC-57BF-4DD4-96D5-E719E0AA304C}"/>
              </a:ext>
            </a:extLst>
          </p:cNvPr>
          <p:cNvSpPr txBox="1"/>
          <p:nvPr userDrawn="1"/>
        </p:nvSpPr>
        <p:spPr>
          <a:xfrm>
            <a:off x="2737971" y="4702088"/>
            <a:ext cx="1405661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accent2"/>
                </a:solidFill>
                <a:latin typeface="+mj-lt"/>
              </a:rPr>
              <a:t>Languages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E62694EE-2775-4821-892A-C6D03DCFB2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284" y="3341418"/>
            <a:ext cx="3979466" cy="862834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E7A7F482-CE0D-405F-9290-0D3C227562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284" y="5162163"/>
            <a:ext cx="1691533" cy="1159123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7EED0951-6FF1-484B-8B71-7E7A4263262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37970" y="5162163"/>
            <a:ext cx="1865779" cy="1159123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pic>
        <p:nvPicPr>
          <p:cNvPr id="36" name="Graphic 22">
            <a:extLst>
              <a:ext uri="{FF2B5EF4-FFF2-40B4-BE49-F238E27FC236}">
                <a16:creationId xmlns:a16="http://schemas.microsoft.com/office/drawing/2014/main" id="{731658BC-D048-4322-A27A-774D1DE3FC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37" name="TextBox 12">
            <a:extLst>
              <a:ext uri="{FF2B5EF4-FFF2-40B4-BE49-F238E27FC236}">
                <a16:creationId xmlns:a16="http://schemas.microsoft.com/office/drawing/2014/main" id="{E841F9B0-277D-4BC5-9B0A-78550E2A4253}"/>
              </a:ext>
            </a:extLst>
          </p:cNvPr>
          <p:cNvSpPr txBox="1"/>
          <p:nvPr userDrawn="1"/>
        </p:nvSpPr>
        <p:spPr>
          <a:xfrm>
            <a:off x="5220654" y="715619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tx2"/>
                </a:solidFill>
                <a:latin typeface="+mj-lt"/>
              </a:rPr>
              <a:t>Professional Focus</a:t>
            </a:r>
          </a:p>
        </p:txBody>
      </p:sp>
      <p:sp>
        <p:nvSpPr>
          <p:cNvPr id="38" name="TextBox 12">
            <a:extLst>
              <a:ext uri="{FF2B5EF4-FFF2-40B4-BE49-F238E27FC236}">
                <a16:creationId xmlns:a16="http://schemas.microsoft.com/office/drawing/2014/main" id="{71C4EA98-E57E-4655-A758-0925C98813E0}"/>
              </a:ext>
            </a:extLst>
          </p:cNvPr>
          <p:cNvSpPr txBox="1"/>
          <p:nvPr userDrawn="1"/>
        </p:nvSpPr>
        <p:spPr>
          <a:xfrm>
            <a:off x="8954353" y="715619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tx2"/>
                </a:solidFill>
                <a:latin typeface="+mj-lt"/>
              </a:rPr>
              <a:t>Relevant Experience</a:t>
            </a:r>
          </a:p>
        </p:txBody>
      </p:sp>
      <p:sp>
        <p:nvSpPr>
          <p:cNvPr id="43" name="TextBox 12">
            <a:extLst>
              <a:ext uri="{FF2B5EF4-FFF2-40B4-BE49-F238E27FC236}">
                <a16:creationId xmlns:a16="http://schemas.microsoft.com/office/drawing/2014/main" id="{41B4B6B6-B505-479B-893F-5B218DA0B87E}"/>
              </a:ext>
            </a:extLst>
          </p:cNvPr>
          <p:cNvSpPr txBox="1"/>
          <p:nvPr userDrawn="1"/>
        </p:nvSpPr>
        <p:spPr>
          <a:xfrm>
            <a:off x="5220654" y="3866725"/>
            <a:ext cx="1925240" cy="344287"/>
          </a:xfrm>
          <a:prstGeom prst="rect">
            <a:avLst/>
          </a:prstGeom>
          <a:noFill/>
        </p:spPr>
        <p:txBody>
          <a:bodyPr wrap="square" lIns="0" tIns="0" rIns="0" bIns="54000" rtlCol="0" anchor="t">
            <a:spAutoFit/>
          </a:bodyPr>
          <a:lstStyle>
            <a:defPPr>
              <a:defRPr lang="fr-FR"/>
            </a:defPPr>
            <a:lvl1pPr>
              <a:lnSpc>
                <a:spcPct val="125000"/>
              </a:lnSpc>
              <a:defRPr sz="1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400" b="1" noProof="0">
                <a:solidFill>
                  <a:schemeClr val="tx2"/>
                </a:solidFill>
                <a:latin typeface="+mj-lt"/>
              </a:rPr>
              <a:t>Professional Background</a:t>
            </a:r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67C1B427-A3B0-4BD9-85FD-12598864DEF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20654" y="1197358"/>
            <a:ext cx="2929433" cy="2639146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3F9EC9EE-292D-4A28-BEE4-DFC6642AC1E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75756" y="1197358"/>
            <a:ext cx="2592357" cy="5123928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576FFAA8-1AD9-49A4-BE50-1BC5C44A295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20654" y="4225613"/>
            <a:ext cx="2929433" cy="2095673"/>
          </a:xfrm>
        </p:spPr>
        <p:txBody>
          <a:bodyPr/>
          <a:lstStyle>
            <a:lvl1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8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0885BCE6-CB86-494E-B9BF-B8BA4664FA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84801" y="1634894"/>
            <a:ext cx="2518949" cy="862834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 kumimoji="0" lang="en-US" altLang="zh-M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</a:defRPr>
            </a:lvl1pPr>
            <a:lvl2pPr marL="0" indent="0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2pPr>
            <a:lvl3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3pPr>
            <a:lvl4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en-US" sz="600" kern="1200" dirty="0" smtClean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4pPr>
            <a:lvl5pPr marL="128588" indent="-128588" algn="l" defTabSz="389616" rtl="0" eaLnBrk="1" latinLnBrk="0" hangingPunct="1">
              <a:lnSpc>
                <a:spcPct val="120000"/>
              </a:lnSpc>
              <a:spcAft>
                <a:spcPts val="45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 lang="fr-FR" sz="600" kern="1200" dirty="0">
                <a:solidFill>
                  <a:srgbClr val="000000"/>
                </a:solidFill>
                <a:latin typeface="Calibri"/>
                <a:ea typeface="新細明體" panose="02020500000000000000" pitchFamily="18" charset="-120"/>
                <a:cs typeface="Segoe UI" panose="020B0502040204020203" pitchFamily="34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Verdana" pitchFamily="34" charset="0"/>
              <a:buNone/>
              <a:tabLst/>
              <a:defRPr/>
            </a:pPr>
            <a:r>
              <a:rPr kumimoji="0" lang="en-GB" altLang="zh-M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BearingPoint Address</a:t>
            </a:r>
          </a:p>
        </p:txBody>
      </p:sp>
    </p:spTree>
    <p:extLst>
      <p:ext uri="{BB962C8B-B14F-4D97-AF65-F5344CB8AC3E}">
        <p14:creationId xmlns:p14="http://schemas.microsoft.com/office/powerpoint/2010/main" val="3918646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921B6F65-DC7E-4564-B0B1-327BED38BC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97DDF472-E24C-4F1C-A0D3-A1A5647EE7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2" name="Graphic 22">
            <a:extLst>
              <a:ext uri="{FF2B5EF4-FFF2-40B4-BE49-F238E27FC236}">
                <a16:creationId xmlns:a16="http://schemas.microsoft.com/office/drawing/2014/main" id="{7ABCD871-88F8-4F4D-AF5B-FC4472490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28" name="Image 9">
            <a:extLst>
              <a:ext uri="{FF2B5EF4-FFF2-40B4-BE49-F238E27FC236}">
                <a16:creationId xmlns:a16="http://schemas.microsoft.com/office/drawing/2014/main" id="{4E4B90D4-8E8A-4EA4-8F60-DCC3391CF43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533534" y="1971480"/>
            <a:ext cx="6278252" cy="3687064"/>
          </a:xfrm>
          <a:prstGeom prst="rect">
            <a:avLst/>
          </a:prstGeom>
        </p:spPr>
      </p:pic>
      <p:sp>
        <p:nvSpPr>
          <p:cNvPr id="29" name="Espace réservé pour une image  2">
            <a:extLst>
              <a:ext uri="{FF2B5EF4-FFF2-40B4-BE49-F238E27FC236}">
                <a16:creationId xmlns:a16="http://schemas.microsoft.com/office/drawing/2014/main" id="{4589F180-D102-42EB-B282-FCC03EB535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07931" y="2231230"/>
            <a:ext cx="4731544" cy="295989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98894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Divider &amp;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B9B755C-A813-4478-97D8-221419C0CB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A29147A-E282-4A23-A176-9828642E383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FD5246D4-8081-4C33-86D4-DEC6CD69B19D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327E93BC-0553-4656-BB86-58CD3A78CE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98303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97555282-95F1-4C07-954C-4168E28D8C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001DBB0E-39EE-41B6-B341-E9B509DE23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0" name="Graphic 22">
            <a:extLst>
              <a:ext uri="{FF2B5EF4-FFF2-40B4-BE49-F238E27FC236}">
                <a16:creationId xmlns:a16="http://schemas.microsoft.com/office/drawing/2014/main" id="{A0017530-C44F-43F2-AE0E-E6763B0578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20" name="Image 10">
            <a:extLst>
              <a:ext uri="{FF2B5EF4-FFF2-40B4-BE49-F238E27FC236}">
                <a16:creationId xmlns:a16="http://schemas.microsoft.com/office/drawing/2014/main" id="{F357BF8C-457A-4EA8-A1A9-4F132C632F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20220" y="1468131"/>
            <a:ext cx="3304880" cy="4633312"/>
          </a:xfrm>
          <a:prstGeom prst="rect">
            <a:avLst/>
          </a:prstGeom>
        </p:spPr>
      </p:pic>
      <p:sp>
        <p:nvSpPr>
          <p:cNvPr id="21" name="Espace réservé pour une image  2">
            <a:extLst>
              <a:ext uri="{FF2B5EF4-FFF2-40B4-BE49-F238E27FC236}">
                <a16:creationId xmlns:a16="http://schemas.microsoft.com/office/drawing/2014/main" id="{99685A86-1D3B-41FD-B36F-85CC9192D9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83450" y="1928814"/>
            <a:ext cx="2774156" cy="37052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87515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phone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8667750" y="0"/>
            <a:ext cx="352425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65CA6B81-4DD4-4D81-91C7-76E9370AF5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1086326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pic>
        <p:nvPicPr>
          <p:cNvPr id="12" name="Graphic 22">
            <a:extLst>
              <a:ext uri="{FF2B5EF4-FFF2-40B4-BE49-F238E27FC236}">
                <a16:creationId xmlns:a16="http://schemas.microsoft.com/office/drawing/2014/main" id="{CF12F35B-4DF9-4EEA-ACB9-42F19C1068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pic>
        <p:nvPicPr>
          <p:cNvPr id="31" name="Image 9">
            <a:extLst>
              <a:ext uri="{FF2B5EF4-FFF2-40B4-BE49-F238E27FC236}">
                <a16:creationId xmlns:a16="http://schemas.microsoft.com/office/drawing/2014/main" id="{4B7A52C0-350D-45D2-8DA6-237153D563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55463" y="1560206"/>
            <a:ext cx="2434394" cy="4459594"/>
          </a:xfrm>
          <a:prstGeom prst="rect">
            <a:avLst/>
          </a:prstGeom>
        </p:spPr>
      </p:pic>
      <p:sp>
        <p:nvSpPr>
          <p:cNvPr id="32" name="Espace réservé pour une image  2">
            <a:extLst>
              <a:ext uri="{FF2B5EF4-FFF2-40B4-BE49-F238E27FC236}">
                <a16:creationId xmlns:a16="http://schemas.microsoft.com/office/drawing/2014/main" id="{2AD37720-83A9-48DD-9A80-31E2F97122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063" y="2147887"/>
            <a:ext cx="1862930" cy="329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03C65A44-B5D9-4B61-8951-86F1E2CAD3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9" y="1641475"/>
            <a:ext cx="4574855" cy="4215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fr-FR" noProof="0" dirty="0">
                <a:solidFill>
                  <a:schemeClr val="tx1"/>
                </a:solidFill>
              </a:defRPr>
            </a:lvl1pPr>
            <a:lvl2pPr>
              <a:defRPr lang="fr-FR" noProof="0" dirty="0">
                <a:solidFill>
                  <a:schemeClr val="tx1"/>
                </a:solidFill>
              </a:defRPr>
            </a:lvl2pPr>
            <a:lvl3pPr>
              <a:defRPr lang="fr-FR" noProof="0" dirty="0" smtClean="0">
                <a:solidFill>
                  <a:schemeClr val="tx1"/>
                </a:solidFill>
              </a:defRPr>
            </a:lvl3pPr>
            <a:lvl4pPr>
              <a:defRPr lang="en-US" noProof="0" dirty="0">
                <a:solidFill>
                  <a:schemeClr val="tx1"/>
                </a:solidFill>
              </a:defRPr>
            </a:lvl4pPr>
          </a:lstStyle>
          <a:p>
            <a:pPr lvl="0"/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it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ty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e</a:t>
            </a:r>
          </a:p>
          <a:p>
            <a:pPr lvl="1"/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/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603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orient="horz" pos="392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A829859B-BEDB-4EE6-8FBB-7FAA00ACD2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06532" y="1628775"/>
            <a:ext cx="5261580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895159-EF8E-483A-B23D-9F4D082BD5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1628775"/>
            <a:ext cx="5261580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82CFEC60-8A31-480A-B4C9-65A5C05FE13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7" y="917325"/>
            <a:ext cx="10944225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7716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A829859B-BEDB-4EE6-8FBB-7FAA00ACD2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400035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895159-EF8E-483A-B23D-9F4D082BD5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888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Espace réservé pour une image  2">
            <a:extLst>
              <a:ext uri="{FF2B5EF4-FFF2-40B4-BE49-F238E27FC236}">
                <a16:creationId xmlns:a16="http://schemas.microsoft.com/office/drawing/2014/main" id="{6E638EAA-0D75-402D-A97B-CB436517B4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76182" y="1628775"/>
            <a:ext cx="3391931" cy="4486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F8DF4B3B-9680-4753-BD83-79F5EDD0BA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7" y="917325"/>
            <a:ext cx="10944225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4211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1304AD92-A926-4829-A590-C49B112E415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358438" y="4191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23C40BE-7E5F-40E5-913E-F5D6D2331811}"/>
              </a:ext>
            </a:extLst>
          </p:cNvPr>
          <p:cNvSpPr/>
          <p:nvPr userDrawn="1"/>
        </p:nvSpPr>
        <p:spPr>
          <a:xfrm>
            <a:off x="623887" y="6098448"/>
            <a:ext cx="376238" cy="23888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err="1">
              <a:solidFill>
                <a:schemeClr val="tx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8D6B6DE-2673-44A2-9901-4A07D74E7965}"/>
              </a:ext>
            </a:extLst>
          </p:cNvPr>
          <p:cNvSpPr txBox="1">
            <a:spLocks/>
          </p:cNvSpPr>
          <p:nvPr userDrawn="1"/>
        </p:nvSpPr>
        <p:spPr>
          <a:xfrm>
            <a:off x="650081" y="6103211"/>
            <a:ext cx="323850" cy="227211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ag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36AF437-7EEF-4E82-AC7D-64037FD7A3E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85851" y="6136024"/>
            <a:ext cx="160496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4pPr marL="374640" indent="0">
              <a:buFont typeface="Arial" panose="020B0604020202020204" pitchFamily="34" charset="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3"/>
            <a:r>
              <a:rPr lang="en-US" noProof="0"/>
              <a:t>Country</a:t>
            </a:r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BC23F954-5045-458A-B3A1-C5F5FC8F69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517101"/>
            <a:ext cx="9625012" cy="36933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819F818A-AA71-437B-8F94-166CBF4E3B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917325"/>
            <a:ext cx="9625012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2361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2913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&amp; pictur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FF6C77F-EEBB-4E11-8B84-7B1F8ED711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12" y="0"/>
            <a:ext cx="12198024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432C314-FC93-4C1B-811E-057CEB8F6131}"/>
              </a:ext>
            </a:extLst>
          </p:cNvPr>
          <p:cNvSpPr/>
          <p:nvPr userDrawn="1"/>
        </p:nvSpPr>
        <p:spPr>
          <a:xfrm>
            <a:off x="0" y="0"/>
            <a:ext cx="12191998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4BBDCF5-C556-4BA9-A4E7-5A71DF5CCD5E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chemeClr val="accent2">
                  <a:alpha val="90000"/>
                </a:schemeClr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428384061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B&amp;W &amp; picture - cen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FF6C77F-EEBB-4E11-8B84-7B1F8ED711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12" y="0"/>
            <a:ext cx="12198024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432C314-FC93-4C1B-811E-057CEB8F6131}"/>
              </a:ext>
            </a:extLst>
          </p:cNvPr>
          <p:cNvSpPr/>
          <p:nvPr userDrawn="1"/>
        </p:nvSpPr>
        <p:spPr>
          <a:xfrm>
            <a:off x="0" y="0"/>
            <a:ext cx="12191998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25932980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Message  Purple - Cente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21BC571-7584-429D-ACA0-4CE6A223D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406070721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Message Blue -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23824559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&amp;W divider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89C769-06F4-4C3D-8FA7-7FBD87554F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177"/>
            <a:ext cx="12192000" cy="686235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C133AB-4ED4-4A84-A2B5-1FC5F934F5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FD5246D4-8081-4C33-86D4-DEC6CD69B19D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327E93BC-0553-4656-BB86-58CD3A78CE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4920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ts val="5400"/>
              </a:lnSpc>
              <a:defRPr lang="en-US" sz="4800" b="1" dirty="0" smtClean="0">
                <a:gradFill>
                  <a:gsLst>
                    <a:gs pos="0">
                      <a:schemeClr val="accent2"/>
                    </a:gs>
                    <a:gs pos="86000">
                      <a:schemeClr val="accent1"/>
                    </a:gs>
                  </a:gsLst>
                  <a:lin ang="2700000" scaled="0"/>
                </a:gradFill>
                <a:latin typeface="+mn-lt"/>
                <a:cs typeface="+mn-cs"/>
              </a:defRPr>
            </a:lvl1pPr>
          </a:lstStyle>
          <a:p>
            <a:pPr lvl="0" defTabSz="457200">
              <a:lnSpc>
                <a:spcPct val="100000"/>
              </a:lnSpc>
              <a:spcAft>
                <a:spcPts val="0"/>
              </a:spcAft>
              <a:buFontTx/>
            </a:pPr>
            <a:r>
              <a:rPr lang="en-US"/>
              <a:t>Key message</a:t>
            </a:r>
          </a:p>
        </p:txBody>
      </p:sp>
      <p:pic>
        <p:nvPicPr>
          <p:cNvPr id="5" name="Graphic 22">
            <a:extLst>
              <a:ext uri="{FF2B5EF4-FFF2-40B4-BE49-F238E27FC236}">
                <a16:creationId xmlns:a16="http://schemas.microsoft.com/office/drawing/2014/main" id="{D0075C18-B716-43EA-9120-6F496F3109D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6835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- Cente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2AD501A-AD9B-422F-BC38-A8D4766F990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AADEAE3-3EA8-428E-BCA2-61174AB8C3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68312600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AE68CF5-BE35-41D8-987E-89EC643CF1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FE163525-35D9-46B1-A335-A0CC467781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B6059E7-F239-4041-BFFD-1060300A5CA7}"/>
              </a:ext>
            </a:extLst>
          </p:cNvPr>
          <p:cNvSpPr/>
          <p:nvPr userDrawn="1"/>
        </p:nvSpPr>
        <p:spPr>
          <a:xfrm>
            <a:off x="8883382" y="-1"/>
            <a:ext cx="3308618" cy="3728019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11" name="Graphique 17">
            <a:extLst>
              <a:ext uri="{FF2B5EF4-FFF2-40B4-BE49-F238E27FC236}">
                <a16:creationId xmlns:a16="http://schemas.microsoft.com/office/drawing/2014/main" id="{66A1378D-6BAB-45C2-BF80-821EC686C99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09627" y="636997"/>
            <a:ext cx="170630" cy="170630"/>
          </a:xfrm>
          <a:prstGeom prst="rect">
            <a:avLst/>
          </a:prstGeom>
        </p:spPr>
      </p:pic>
      <p:pic>
        <p:nvPicPr>
          <p:cNvPr id="12" name="Graphique 18">
            <a:extLst>
              <a:ext uri="{FF2B5EF4-FFF2-40B4-BE49-F238E27FC236}">
                <a16:creationId xmlns:a16="http://schemas.microsoft.com/office/drawing/2014/main" id="{F49CD148-3EBF-497E-BF86-936A964388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6372" y="1007841"/>
            <a:ext cx="189590" cy="145352"/>
          </a:xfrm>
          <a:prstGeom prst="rect">
            <a:avLst/>
          </a:prstGeom>
        </p:spPr>
      </p:pic>
      <p:cxnSp>
        <p:nvCxnSpPr>
          <p:cNvPr id="13" name="Connecteur droit 20">
            <a:extLst>
              <a:ext uri="{FF2B5EF4-FFF2-40B4-BE49-F238E27FC236}">
                <a16:creationId xmlns:a16="http://schemas.microsoft.com/office/drawing/2014/main" id="{1E8D30A6-86CE-4371-97C8-AC8C0C1B0743}"/>
              </a:ext>
            </a:extLst>
          </p:cNvPr>
          <p:cNvCxnSpPr>
            <a:cxnSpLocks/>
          </p:cNvCxnSpPr>
          <p:nvPr userDrawn="1"/>
        </p:nvCxnSpPr>
        <p:spPr>
          <a:xfrm>
            <a:off x="9316372" y="1696466"/>
            <a:ext cx="386160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A4A7E8-B058-4072-BBDE-74AADF8D7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8" y="2842865"/>
            <a:ext cx="6721475" cy="2136775"/>
          </a:xfrm>
          <a:noFill/>
        </p:spPr>
        <p:txBody>
          <a:bodyPr/>
          <a:lstStyle>
            <a:lvl1pPr>
              <a:defRPr sz="5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fr-FR"/>
          </a:p>
        </p:txBody>
      </p:sp>
      <p:sp>
        <p:nvSpPr>
          <p:cNvPr id="14" name="Espace réservé du texte 9">
            <a:extLst>
              <a:ext uri="{FF2B5EF4-FFF2-40B4-BE49-F238E27FC236}">
                <a16:creationId xmlns:a16="http://schemas.microsoft.com/office/drawing/2014/main" id="{5817E426-6146-4666-828B-226889FEA37C}"/>
              </a:ext>
            </a:extLst>
          </p:cNvPr>
          <p:cNvSpPr txBox="1">
            <a:spLocks/>
          </p:cNvSpPr>
          <p:nvPr userDrawn="1"/>
        </p:nvSpPr>
        <p:spPr>
          <a:xfrm>
            <a:off x="623888" y="6091570"/>
            <a:ext cx="1919685" cy="6235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457189" rtl="0" eaLnBrk="1" latinLnBrk="0" hangingPunct="1">
              <a:spcBef>
                <a:spcPts val="1200"/>
              </a:spcBef>
              <a:spcAft>
                <a:spcPts val="30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GB" sz="1400" b="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796" indent="-177796" algn="l" defTabSz="457189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lang="en-GB" sz="14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42" indent="-180970" algn="l" defTabSz="514338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alibri" pitchFamily="34" charset="0"/>
              <a:buChar char="−"/>
              <a:defRPr lang="en-GB" sz="14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61" indent="-161921" algn="l" defTabSz="457189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itchFamily="49" charset="0"/>
              <a:buChar char="o"/>
              <a:tabLst/>
              <a:defRPr lang="en-GB" sz="120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2780" indent="-165096" algn="l" defTabSz="457189" rtl="0" eaLnBrk="1" latinLnBrk="0" hangingPunct="1">
              <a:spcBef>
                <a:spcPts val="0"/>
              </a:spcBef>
              <a:buClr>
                <a:srgbClr val="D52B1E"/>
              </a:buClr>
              <a:buFont typeface="Calibri" pitchFamily="34" charset="0"/>
              <a:buChar char="-"/>
              <a:tabLst/>
              <a:defRPr lang="en-GB" sz="1100" kern="1200" noProof="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200">
                <a:solidFill>
                  <a:schemeClr val="bg1"/>
                </a:solidFill>
              </a:rPr>
              <a:t>www.bearingpoint.com</a:t>
            </a:r>
          </a:p>
        </p:txBody>
      </p:sp>
    </p:spTree>
    <p:extLst>
      <p:ext uri="{BB962C8B-B14F-4D97-AF65-F5344CB8AC3E}">
        <p14:creationId xmlns:p14="http://schemas.microsoft.com/office/powerpoint/2010/main" val="91569868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aringPoint Logo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E19149A-C143-40CA-9518-C5427B0C76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14" name="Graphic 22">
            <a:extLst>
              <a:ext uri="{FF2B5EF4-FFF2-40B4-BE49-F238E27FC236}">
                <a16:creationId xmlns:a16="http://schemas.microsoft.com/office/drawing/2014/main" id="{B0ABA653-F417-4416-82DD-01FB0CEE3D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10025" y="3095149"/>
            <a:ext cx="4171950" cy="667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51151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ink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2561BC8E-BFFD-4037-BA1A-2F1F68F79F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083401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Message Pink -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FEBC77-6737-4A17-9412-10BAA8B577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387600"/>
            <a:ext cx="10944224" cy="2082800"/>
          </a:xfrm>
        </p:spPr>
        <p:txBody>
          <a:bodyPr anchor="ctr" anchorCtr="0"/>
          <a:lstStyle>
            <a:lvl1pPr algn="ctr">
              <a:lnSpc>
                <a:spcPts val="5400"/>
              </a:lnSpc>
              <a:spcAft>
                <a:spcPts val="0"/>
              </a:spcAft>
              <a:defRPr sz="48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5365179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lumns text Pink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A57F6187-BFE3-4338-8A14-47B63D86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517101"/>
            <a:ext cx="5135888" cy="36933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5743908-B0F1-4FA6-BB4B-381DC44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841500"/>
            <a:ext cx="5021262" cy="4051300"/>
          </a:xfrm>
        </p:spPr>
        <p:txBody>
          <a:bodyPr/>
          <a:lstStyle>
            <a:lvl1pPr>
              <a:lnSpc>
                <a:spcPct val="130000"/>
              </a:lnSpc>
              <a:spcAft>
                <a:spcPts val="1200"/>
              </a:spcAft>
              <a:defRPr lang="en-US" smtClean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Bring to the table win-win survival strategies to ensure proactive domina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t the end of the day, going forward, a new normal that has evolved from generation X is on the runway heading towards a streamlined cloud solution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User generated content in real-time will have multiple touchpoints for offshoring.</a:t>
            </a:r>
          </a:p>
          <a:p>
            <a:pPr>
              <a:lnSpc>
                <a:spcPct val="130000"/>
              </a:lnSpc>
              <a:spcAft>
                <a:spcPts val="1200"/>
              </a:spcAft>
            </a:pPr>
            <a:r>
              <a:rPr lang="en-US">
                <a:latin typeface="+mj-lt"/>
              </a:rPr>
              <a:t>Override the digital divide with additional </a:t>
            </a:r>
            <a:r>
              <a:rPr lang="en-US" err="1">
                <a:latin typeface="+mj-lt"/>
              </a:rPr>
              <a:t>clickthroughs</a:t>
            </a:r>
            <a:r>
              <a:rPr lang="en-US">
                <a:latin typeface="+mj-lt"/>
              </a:rPr>
              <a:t> from DevOps. Nanotechnology immersion along the information highway will close the loop on focusing solely on the bottom line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 Podcasting operational change management inside of workflows to establish a framework. Bring to the table win-win survival strategies to ensure proactive domination. At the end of the day, going forward, a new normal that has evolved from generation X is on the runway heading towards a streamlined cloud solution.</a:t>
            </a:r>
          </a:p>
          <a:p>
            <a:pPr lvl="4"/>
            <a:endParaRPr lang="fr-FR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4E1168-830C-4B5E-B2A4-9213147E3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6850" y="517101"/>
            <a:ext cx="5021262" cy="537569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fr-FR" sz="12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/>
              <a:t>Fourth level</a:t>
            </a:r>
          </a:p>
          <a:p>
            <a:pPr marL="733425" lvl="4" indent="-190500"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/>
              <a:t>Fifth level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C70359C1-5DC1-4BE1-82EC-1B4379D7C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740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46D3151-25A0-4DAA-932E-25B89A75A3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0EAEC6-A20E-40E6-BA0D-8C1A63780B40}"/>
              </a:ext>
            </a:extLst>
          </p:cNvPr>
          <p:cNvSpPr/>
          <p:nvPr userDrawn="1"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1180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F9DC38-BF2B-4966-BEBE-6429588447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3E03B79-5187-4781-8B46-50077B0460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806C49-1226-4067-BF64-EBDCCB1EEFAB}"/>
              </a:ext>
            </a:extLst>
          </p:cNvPr>
          <p:cNvSpPr/>
          <p:nvPr userDrawn="1"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519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&amp;W background &amp; 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394366-1508-46B8-B9A5-C96D997DDE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177"/>
            <a:ext cx="12192000" cy="686235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18847CF-4482-4363-9381-3889ED48098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980A3CE-95C9-42C1-9954-2B73BAB3ABB3}"/>
              </a:ext>
            </a:extLst>
          </p:cNvPr>
          <p:cNvSpPr/>
          <p:nvPr userDrawn="1"/>
        </p:nvSpPr>
        <p:spPr>
          <a:xfrm>
            <a:off x="9544050" y="-1"/>
            <a:ext cx="2647950" cy="4083051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623888" y="609600"/>
            <a:ext cx="1209675" cy="1209675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947405" y="795687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947405" y="2730466"/>
            <a:ext cx="1919288" cy="9175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47405" y="496936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947405" y="2432085"/>
            <a:ext cx="1919288" cy="231006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04969F77-B8E3-49E1-9695-7306527D3A7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8140550" cy="145718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F7BD7ABA-7FE8-4358-B406-F7160427DB2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23888" y="3782307"/>
            <a:ext cx="8140550" cy="75650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20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  <p:pic>
        <p:nvPicPr>
          <p:cNvPr id="17" name="Graphic 22">
            <a:extLst>
              <a:ext uri="{FF2B5EF4-FFF2-40B4-BE49-F238E27FC236}">
                <a16:creationId xmlns:a16="http://schemas.microsoft.com/office/drawing/2014/main" id="{0ED196AF-E4F2-47A1-839B-02230964F5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9201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5B81D735-5959-4BE7-B602-2415CB7572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54124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">
            <a:extLst>
              <a:ext uri="{FF2B5EF4-FFF2-40B4-BE49-F238E27FC236}">
                <a16:creationId xmlns:a16="http://schemas.microsoft.com/office/drawing/2014/main" id="{DB5CE587-00E6-4AED-B8A6-DEB034F4A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-2" y="0"/>
            <a:ext cx="12191999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A268BF61-BD91-4208-95EA-8BEA5E5822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457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A84B023-9855-45DC-B913-517B6446B410}"/>
              </a:ext>
            </a:extLst>
          </p:cNvPr>
          <p:cNvSpPr/>
          <p:nvPr userDrawn="1"/>
        </p:nvSpPr>
        <p:spPr>
          <a:xfrm>
            <a:off x="4760536" y="0"/>
            <a:ext cx="7431463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fr-FR" sz="1800" err="1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gradFill>
                  <a:gsLst>
                    <a:gs pos="0">
                      <a:schemeClr val="accent2"/>
                    </a:gs>
                    <a:gs pos="86000">
                      <a:schemeClr val="accent1"/>
                    </a:gs>
                  </a:gsLst>
                  <a:lin ang="2700000" scaled="0"/>
                </a:gra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29" name="Graphic 22">
            <a:extLst>
              <a:ext uri="{FF2B5EF4-FFF2-40B4-BE49-F238E27FC236}">
                <a16:creationId xmlns:a16="http://schemas.microsoft.com/office/drawing/2014/main" id="{9498E08C-AD5C-4695-A985-4D3952C32D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435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B&amp;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">
            <a:extLst>
              <a:ext uri="{FF2B5EF4-FFF2-40B4-BE49-F238E27FC236}">
                <a16:creationId xmlns:a16="http://schemas.microsoft.com/office/drawing/2014/main" id="{34B79FDB-9C8B-4118-B598-85B0C817C0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-2" y="0"/>
            <a:ext cx="12191999" cy="685800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2D58BD87-1403-45E8-8D95-4D67F4C97E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7068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8179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7068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8179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8179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9290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7068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8179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60D01E0-B224-4F73-9B5C-D11993C1F637}"/>
              </a:ext>
            </a:extLst>
          </p:cNvPr>
          <p:cNvCxnSpPr>
            <a:cxnSpLocks/>
          </p:cNvCxnSpPr>
          <p:nvPr userDrawn="1"/>
        </p:nvCxnSpPr>
        <p:spPr>
          <a:xfrm>
            <a:off x="4760536" y="1553304"/>
            <a:ext cx="0" cy="375139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EC6491-C829-4D5B-88B1-32AC495A7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3040133"/>
            <a:ext cx="3381375" cy="777734"/>
          </a:xfrm>
        </p:spPr>
        <p:txBody>
          <a:bodyPr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25000"/>
              <a:buFontTx/>
              <a:buNone/>
              <a:defRPr lang="en-US" sz="44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65C5F44-FA63-4060-8466-0902663DBA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8994" y="1603697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68F8662E-04D2-41C5-8413-080CA7C8E5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60105" y="1922321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0F543F9-F103-4107-9B00-1CB4B73678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60105" y="2616151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B046D83-497A-4322-A5E0-B77DB7C049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61216" y="2934775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8561A5F7-1D44-472F-A9CC-539B38AA3D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8994" y="364020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8834BFAA-4D6A-48B0-820D-CF9E3D4108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60105" y="395883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A3614C72-B3FE-4BBC-9BB6-45225638E5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8994" y="4662699"/>
            <a:ext cx="2173287" cy="227211"/>
          </a:xfrm>
          <a:prstGeom prst="rect">
            <a:avLst/>
          </a:prstGeom>
        </p:spPr>
        <p:txBody>
          <a:bodyPr anchor="b"/>
          <a:lstStyle>
            <a:lvl1pPr>
              <a:defRPr lang="fr-FR" sz="1200" b="0" kern="1200" spc="3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4B4D0E6-451D-491B-87ED-1C7267B051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60105" y="4981323"/>
            <a:ext cx="2173287" cy="227211"/>
          </a:xfrm>
          <a:prstGeom prst="rect">
            <a:avLst/>
          </a:prstGeom>
        </p:spPr>
        <p:txBody>
          <a:bodyPr anchor="b"/>
          <a:lstStyle>
            <a:lvl1pPr marL="0" indent="0" algn="l" defTabSz="457189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spc="3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086179-0271-40FD-A7AD-5D02EA5E0C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88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Divider &amp;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B9B755C-A813-4478-97D8-221419C0CB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A29147A-E282-4A23-A176-9828642E383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FD5246D4-8081-4C33-86D4-DEC6CD69B19D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327E93BC-0553-4656-BB86-58CD3A78CE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77721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&amp;W divider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89C769-06F4-4C3D-8FA7-7FBD87554F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177"/>
            <a:ext cx="12192000" cy="686235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C133AB-4ED4-4A84-A2B5-1FC5F934F5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ysClr val="windowText" lastClr="000000">
              <a:lumMod val="85000"/>
              <a:lumOff val="15000"/>
              <a:alpha val="54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FD5246D4-8081-4C33-86D4-DEC6CD69B19D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pic>
        <p:nvPicPr>
          <p:cNvPr id="7" name="Graphic 22">
            <a:extLst>
              <a:ext uri="{FF2B5EF4-FFF2-40B4-BE49-F238E27FC236}">
                <a16:creationId xmlns:a16="http://schemas.microsoft.com/office/drawing/2014/main" id="{327E93BC-0553-4656-BB86-58CD3A78CE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96993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Divi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5B81D735-5959-4BE7-B602-2415CB7572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22408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2561BC8E-BFFD-4037-BA1A-2F1F68F79F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endParaRPr lang="fr-FR"/>
          </a:p>
          <a:p>
            <a:pPr lvl="0"/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453776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2AD501A-AD9B-422F-BC38-A8D4766F990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3" name="Graphic 22">
            <a:extLst>
              <a:ext uri="{FF2B5EF4-FFF2-40B4-BE49-F238E27FC236}">
                <a16:creationId xmlns:a16="http://schemas.microsoft.com/office/drawing/2014/main" id="{560B1CEB-8BB9-484A-A92D-AFA0DBD3E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1073" y="6420978"/>
            <a:ext cx="1377040" cy="220391"/>
          </a:xfrm>
          <a:prstGeom prst="rect">
            <a:avLst/>
          </a:prstGeom>
        </p:spPr>
      </p:pic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B1F17EE-6AB9-4C97-B107-6061ADD798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2123413"/>
            <a:ext cx="10944225" cy="145718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2pPr>
            <a:lvl3pPr marL="180972" indent="0">
              <a:buNone/>
              <a:defRPr sz="1600" b="1">
                <a:solidFill>
                  <a:schemeClr val="bg1"/>
                </a:solidFill>
                <a:latin typeface="+mj-lt"/>
              </a:defRPr>
            </a:lvl3pPr>
            <a:lvl4pPr marL="374640" indent="0">
              <a:buNone/>
              <a:defRPr sz="1600" b="1">
                <a:solidFill>
                  <a:schemeClr val="bg1"/>
                </a:solidFill>
                <a:latin typeface="+mj-lt"/>
              </a:defRPr>
            </a:lvl4pPr>
            <a:lvl5pPr marL="647684" indent="0">
              <a:buNone/>
              <a:defRPr sz="16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Divider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9215039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917325"/>
            <a:ext cx="10944224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E4EB6C-3D5C-4105-8C49-7F9DE26BA9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628775"/>
            <a:ext cx="10944225" cy="42100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lnSpc>
                <a:spcPct val="130000"/>
              </a:lnSpc>
              <a:spcAft>
                <a:spcPts val="300"/>
              </a:spcAft>
              <a:defRPr>
                <a:latin typeface="+mn-lt"/>
              </a:defRPr>
            </a:lvl4pPr>
            <a:lvl5pPr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  <a:buSzPct val="60000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7774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917325"/>
            <a:ext cx="10944224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54691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73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45" Type="http://schemas.openxmlformats.org/officeDocument/2006/relationships/image" Target="../media/image2.svg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4" Type="http://schemas.openxmlformats.org/officeDocument/2006/relationships/image" Target="../media/image1.png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theme" Target="../theme/theme2.xml"/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64.xml"/><Relationship Id="rId41" Type="http://schemas.openxmlformats.org/officeDocument/2006/relationships/slideLayout" Target="../slideLayouts/slideLayout8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image" Target="../media/image1.png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2.svg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Relationship Id="rId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image" Target="../media/image20.emf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28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27.xml"/><Relationship Id="rId9" Type="http://schemas.openxmlformats.org/officeDocument/2006/relationships/tags" Target="../tags/tag2.xml"/><Relationship Id="rId14" Type="http://schemas.openxmlformats.org/officeDocument/2006/relationships/image" Target="../media/image22.png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51.xml"/><Relationship Id="rId42" Type="http://schemas.openxmlformats.org/officeDocument/2006/relationships/slideLayout" Target="../slideLayouts/slideLayout172.xml"/><Relationship Id="rId47" Type="http://schemas.openxmlformats.org/officeDocument/2006/relationships/slideLayout" Target="../slideLayouts/slideLayout177.xml"/><Relationship Id="rId63" Type="http://schemas.openxmlformats.org/officeDocument/2006/relationships/slideLayout" Target="../slideLayouts/slideLayout193.xml"/><Relationship Id="rId68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29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41.xml"/><Relationship Id="rId24" Type="http://schemas.openxmlformats.org/officeDocument/2006/relationships/slideLayout" Target="../slideLayouts/slideLayout154.xml"/><Relationship Id="rId32" Type="http://schemas.openxmlformats.org/officeDocument/2006/relationships/slideLayout" Target="../slideLayouts/slideLayout162.xml"/><Relationship Id="rId37" Type="http://schemas.openxmlformats.org/officeDocument/2006/relationships/slideLayout" Target="../slideLayouts/slideLayout167.xml"/><Relationship Id="rId40" Type="http://schemas.openxmlformats.org/officeDocument/2006/relationships/slideLayout" Target="../slideLayouts/slideLayout170.xml"/><Relationship Id="rId45" Type="http://schemas.openxmlformats.org/officeDocument/2006/relationships/slideLayout" Target="../slideLayouts/slideLayout175.xml"/><Relationship Id="rId53" Type="http://schemas.openxmlformats.org/officeDocument/2006/relationships/slideLayout" Target="../slideLayouts/slideLayout183.xml"/><Relationship Id="rId58" Type="http://schemas.openxmlformats.org/officeDocument/2006/relationships/slideLayout" Target="../slideLayouts/slideLayout188.xml"/><Relationship Id="rId66" Type="http://schemas.openxmlformats.org/officeDocument/2006/relationships/slideLayout" Target="../slideLayouts/slideLayout196.xml"/><Relationship Id="rId74" Type="http://schemas.openxmlformats.org/officeDocument/2006/relationships/image" Target="../media/image30.png"/><Relationship Id="rId5" Type="http://schemas.openxmlformats.org/officeDocument/2006/relationships/slideLayout" Target="../slideLayouts/slideLayout135.xml"/><Relationship Id="rId61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44.xml"/><Relationship Id="rId22" Type="http://schemas.openxmlformats.org/officeDocument/2006/relationships/slideLayout" Target="../slideLayouts/slideLayout152.xml"/><Relationship Id="rId27" Type="http://schemas.openxmlformats.org/officeDocument/2006/relationships/slideLayout" Target="../slideLayouts/slideLayout157.xml"/><Relationship Id="rId30" Type="http://schemas.openxmlformats.org/officeDocument/2006/relationships/slideLayout" Target="../slideLayouts/slideLayout160.xml"/><Relationship Id="rId35" Type="http://schemas.openxmlformats.org/officeDocument/2006/relationships/slideLayout" Target="../slideLayouts/slideLayout165.xml"/><Relationship Id="rId43" Type="http://schemas.openxmlformats.org/officeDocument/2006/relationships/slideLayout" Target="../slideLayouts/slideLayout173.xml"/><Relationship Id="rId48" Type="http://schemas.openxmlformats.org/officeDocument/2006/relationships/slideLayout" Target="../slideLayouts/slideLayout178.xml"/><Relationship Id="rId56" Type="http://schemas.openxmlformats.org/officeDocument/2006/relationships/slideLayout" Target="../slideLayouts/slideLayout186.xml"/><Relationship Id="rId64" Type="http://schemas.openxmlformats.org/officeDocument/2006/relationships/slideLayout" Target="../slideLayouts/slideLayout194.xml"/><Relationship Id="rId69" Type="http://schemas.openxmlformats.org/officeDocument/2006/relationships/slideLayout" Target="../slideLayouts/slideLayout199.xml"/><Relationship Id="rId8" Type="http://schemas.openxmlformats.org/officeDocument/2006/relationships/slideLayout" Target="../slideLayouts/slideLayout138.xml"/><Relationship Id="rId51" Type="http://schemas.openxmlformats.org/officeDocument/2006/relationships/slideLayout" Target="../slideLayouts/slideLayout181.xml"/><Relationship Id="rId72" Type="http://schemas.openxmlformats.org/officeDocument/2006/relationships/slideLayout" Target="../slideLayouts/slideLayout202.xml"/><Relationship Id="rId3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5" Type="http://schemas.openxmlformats.org/officeDocument/2006/relationships/slideLayout" Target="../slideLayouts/slideLayout155.xml"/><Relationship Id="rId33" Type="http://schemas.openxmlformats.org/officeDocument/2006/relationships/slideLayout" Target="../slideLayouts/slideLayout163.xml"/><Relationship Id="rId38" Type="http://schemas.openxmlformats.org/officeDocument/2006/relationships/slideLayout" Target="../slideLayouts/slideLayout168.xml"/><Relationship Id="rId46" Type="http://schemas.openxmlformats.org/officeDocument/2006/relationships/slideLayout" Target="../slideLayouts/slideLayout176.xml"/><Relationship Id="rId59" Type="http://schemas.openxmlformats.org/officeDocument/2006/relationships/slideLayout" Target="../slideLayouts/slideLayout189.xml"/><Relationship Id="rId67" Type="http://schemas.openxmlformats.org/officeDocument/2006/relationships/slideLayout" Target="../slideLayouts/slideLayout197.xml"/><Relationship Id="rId20" Type="http://schemas.openxmlformats.org/officeDocument/2006/relationships/slideLayout" Target="../slideLayouts/slideLayout150.xml"/><Relationship Id="rId41" Type="http://schemas.openxmlformats.org/officeDocument/2006/relationships/slideLayout" Target="../slideLayouts/slideLayout171.xml"/><Relationship Id="rId54" Type="http://schemas.openxmlformats.org/officeDocument/2006/relationships/slideLayout" Target="../slideLayouts/slideLayout184.xml"/><Relationship Id="rId62" Type="http://schemas.openxmlformats.org/officeDocument/2006/relationships/slideLayout" Target="../slideLayouts/slideLayout192.xml"/><Relationship Id="rId70" Type="http://schemas.openxmlformats.org/officeDocument/2006/relationships/slideLayout" Target="../slideLayouts/slideLayout200.xml"/><Relationship Id="rId75" Type="http://schemas.openxmlformats.org/officeDocument/2006/relationships/image" Target="../media/image3.png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5.xml"/><Relationship Id="rId23" Type="http://schemas.openxmlformats.org/officeDocument/2006/relationships/slideLayout" Target="../slideLayouts/slideLayout153.xml"/><Relationship Id="rId28" Type="http://schemas.openxmlformats.org/officeDocument/2006/relationships/slideLayout" Target="../slideLayouts/slideLayout158.xml"/><Relationship Id="rId36" Type="http://schemas.openxmlformats.org/officeDocument/2006/relationships/slideLayout" Target="../slideLayouts/slideLayout166.xml"/><Relationship Id="rId49" Type="http://schemas.openxmlformats.org/officeDocument/2006/relationships/slideLayout" Target="../slideLayouts/slideLayout179.xml"/><Relationship Id="rId57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40.xml"/><Relationship Id="rId31" Type="http://schemas.openxmlformats.org/officeDocument/2006/relationships/slideLayout" Target="../slideLayouts/slideLayout161.xml"/><Relationship Id="rId44" Type="http://schemas.openxmlformats.org/officeDocument/2006/relationships/slideLayout" Target="../slideLayouts/slideLayout174.xml"/><Relationship Id="rId52" Type="http://schemas.openxmlformats.org/officeDocument/2006/relationships/slideLayout" Target="../slideLayouts/slideLayout182.xml"/><Relationship Id="rId60" Type="http://schemas.openxmlformats.org/officeDocument/2006/relationships/slideLayout" Target="../slideLayouts/slideLayout190.xml"/><Relationship Id="rId65" Type="http://schemas.openxmlformats.org/officeDocument/2006/relationships/slideLayout" Target="../slideLayouts/slideLayout195.xml"/><Relationship Id="rId73" Type="http://schemas.openxmlformats.org/officeDocument/2006/relationships/theme" Target="../theme/theme5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39" Type="http://schemas.openxmlformats.org/officeDocument/2006/relationships/slideLayout" Target="../slideLayouts/slideLayout169.xml"/><Relationship Id="rId34" Type="http://schemas.openxmlformats.org/officeDocument/2006/relationships/slideLayout" Target="../slideLayouts/slideLayout164.xml"/><Relationship Id="rId50" Type="http://schemas.openxmlformats.org/officeDocument/2006/relationships/slideLayout" Target="../slideLayouts/slideLayout180.xml"/><Relationship Id="rId55" Type="http://schemas.openxmlformats.org/officeDocument/2006/relationships/slideLayout" Target="../slideLayouts/slideLayout185.xml"/><Relationship Id="rId76" Type="http://schemas.openxmlformats.org/officeDocument/2006/relationships/image" Target="../media/image31.svg"/><Relationship Id="rId7" Type="http://schemas.openxmlformats.org/officeDocument/2006/relationships/slideLayout" Target="../slideLayouts/slideLayout137.xml"/><Relationship Id="rId71" Type="http://schemas.openxmlformats.org/officeDocument/2006/relationships/slideLayout" Target="../slideLayouts/slideLayout20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13" Type="http://schemas.openxmlformats.org/officeDocument/2006/relationships/image" Target="../media/image20.emf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207.xml"/><Relationship Id="rId15" Type="http://schemas.openxmlformats.org/officeDocument/2006/relationships/image" Target="../media/image22.png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206.xml"/><Relationship Id="rId9" Type="http://schemas.openxmlformats.org/officeDocument/2006/relationships/theme" Target="../theme/theme6.xml"/><Relationship Id="rId14" Type="http://schemas.openxmlformats.org/officeDocument/2006/relationships/image" Target="../media/image2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23888" y="1536701"/>
            <a:ext cx="10863262" cy="4271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 noProof="0"/>
              <a:t>Fourth level</a:t>
            </a: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23888" y="509481"/>
            <a:ext cx="10944225" cy="36933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70DCD42-C454-4CF9-A367-CF9A36793C89}"/>
              </a:ext>
            </a:extLst>
          </p:cNvPr>
          <p:cNvSpPr txBox="1">
            <a:spLocks/>
          </p:cNvSpPr>
          <p:nvPr userDrawn="1"/>
        </p:nvSpPr>
        <p:spPr>
          <a:xfrm>
            <a:off x="5821053" y="6409446"/>
            <a:ext cx="549897" cy="211193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900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r.›</a:t>
            </a:fld>
            <a:endParaRPr lang="en-US" sz="900" noProof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6" name="Graphic 22">
            <a:extLst>
              <a:ext uri="{FF2B5EF4-FFF2-40B4-BE49-F238E27FC236}">
                <a16:creationId xmlns:a16="http://schemas.microsoft.com/office/drawing/2014/main" id="{C5943B39-DE1B-4307-B002-5846E4E3F0D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F0975EE-33B6-465D-9A21-16AE16400DAC}"/>
              </a:ext>
            </a:extLst>
          </p:cNvPr>
          <p:cNvSpPr txBox="1">
            <a:spLocks/>
          </p:cNvSpPr>
          <p:nvPr userDrawn="1"/>
        </p:nvSpPr>
        <p:spPr>
          <a:xfrm>
            <a:off x="623888" y="6393427"/>
            <a:ext cx="3001962" cy="227210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900" noProof="0">
                <a:solidFill>
                  <a:schemeClr val="accent5"/>
                </a:solidFill>
              </a:rPr>
              <a:t>Insert the </a:t>
            </a:r>
            <a:r>
              <a:rPr lang="fr-FR" sz="900" noProof="0" err="1">
                <a:solidFill>
                  <a:schemeClr val="accent5"/>
                </a:solidFill>
              </a:rPr>
              <a:t>footer</a:t>
            </a:r>
            <a:r>
              <a:rPr lang="fr-FR" sz="900" noProof="0">
                <a:solidFill>
                  <a:schemeClr val="accent5"/>
                </a:solidFill>
              </a:rPr>
              <a:t> </a:t>
            </a:r>
            <a:r>
              <a:rPr lang="fr-FR" sz="900" noProof="0" err="1">
                <a:solidFill>
                  <a:schemeClr val="accent5"/>
                </a:solidFill>
              </a:rPr>
              <a:t>into</a:t>
            </a:r>
            <a:r>
              <a:rPr lang="fr-FR" sz="900" noProof="0">
                <a:solidFill>
                  <a:schemeClr val="accent5"/>
                </a:solidFill>
              </a:rPr>
              <a:t> the 1</a:t>
            </a:r>
            <a:r>
              <a:rPr lang="fr-FR" sz="900" baseline="30000" noProof="0">
                <a:solidFill>
                  <a:schemeClr val="accent5"/>
                </a:solidFill>
              </a:rPr>
              <a:t>st</a:t>
            </a:r>
            <a:r>
              <a:rPr lang="fr-FR" sz="900" noProof="0">
                <a:solidFill>
                  <a:schemeClr val="accent5"/>
                </a:solidFill>
              </a:rPr>
              <a:t> page on the MASTER</a:t>
            </a:r>
          </a:p>
        </p:txBody>
      </p:sp>
    </p:spTree>
    <p:extLst>
      <p:ext uri="{BB962C8B-B14F-4D97-AF65-F5344CB8AC3E}">
        <p14:creationId xmlns:p14="http://schemas.microsoft.com/office/powerpoint/2010/main" val="3943845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4065" r:id="rId2"/>
    <p:sldLayoutId id="2147484067" r:id="rId3"/>
    <p:sldLayoutId id="2147484156" r:id="rId4"/>
    <p:sldLayoutId id="2147484069" r:id="rId5"/>
    <p:sldLayoutId id="2147484155" r:id="rId6"/>
    <p:sldLayoutId id="2147484066" r:id="rId7"/>
    <p:sldLayoutId id="2147484158" r:id="rId8"/>
    <p:sldLayoutId id="2147484002" r:id="rId9"/>
    <p:sldLayoutId id="2147484003" r:id="rId10"/>
    <p:sldLayoutId id="2147484078" r:id="rId11"/>
    <p:sldLayoutId id="2147483817" r:id="rId12"/>
    <p:sldLayoutId id="2147484075" r:id="rId13"/>
    <p:sldLayoutId id="2147483842" r:id="rId14"/>
    <p:sldLayoutId id="2147483843" r:id="rId15"/>
    <p:sldLayoutId id="2147483844" r:id="rId16"/>
    <p:sldLayoutId id="2147483846" r:id="rId17"/>
    <p:sldLayoutId id="2147483825" r:id="rId18"/>
    <p:sldLayoutId id="2147484471" r:id="rId19"/>
    <p:sldLayoutId id="2147484090" r:id="rId20"/>
    <p:sldLayoutId id="2147483820" r:id="rId21"/>
    <p:sldLayoutId id="2147483857" r:id="rId22"/>
    <p:sldLayoutId id="2147484470" r:id="rId23"/>
    <p:sldLayoutId id="2147483828" r:id="rId24"/>
    <p:sldLayoutId id="2147483829" r:id="rId25"/>
    <p:sldLayoutId id="2147483830" r:id="rId26"/>
    <p:sldLayoutId id="2147483854" r:id="rId27"/>
    <p:sldLayoutId id="2147483855" r:id="rId28"/>
    <p:sldLayoutId id="2147483818" r:id="rId29"/>
    <p:sldLayoutId id="2147483814" r:id="rId30"/>
    <p:sldLayoutId id="2147484079" r:id="rId31"/>
    <p:sldLayoutId id="2147484159" r:id="rId32"/>
    <p:sldLayoutId id="2147484160" r:id="rId33"/>
    <p:sldLayoutId id="2147484161" r:id="rId34"/>
    <p:sldLayoutId id="2147484076" r:id="rId35"/>
    <p:sldLayoutId id="2147484163" r:id="rId36"/>
    <p:sldLayoutId id="2147484164" r:id="rId37"/>
    <p:sldLayoutId id="2147483946" r:id="rId38"/>
    <p:sldLayoutId id="2147484488" r:id="rId39"/>
    <p:sldLayoutId id="2147484489" r:id="rId40"/>
    <p:sldLayoutId id="2147484490" r:id="rId41"/>
    <p:sldLayoutId id="2147484491" r:id="rId42"/>
    <p:sldLayoutId id="2147484492" r:id="rId43"/>
    <p:sldLayoutId id="2147484493" r:id="rId44"/>
  </p:sldLayoutIdLst>
  <p:hf hdr="0"/>
  <p:txStyles>
    <p:titleStyle>
      <a:lvl1pPr marL="0" indent="0" algn="l" defTabSz="457189" rtl="0" eaLnBrk="1" latinLnBrk="0" hangingPunct="1">
        <a:spcBef>
          <a:spcPct val="0"/>
        </a:spcBef>
        <a:spcAft>
          <a:spcPts val="0"/>
        </a:spcAft>
        <a:buFont typeface="Arial" pitchFamily="34" charset="0"/>
        <a:buNone/>
        <a:defRPr lang="fr-FR" sz="2400" b="1" kern="1200" baseline="0" smtClean="0">
          <a:solidFill>
            <a:schemeClr val="accent1"/>
          </a:solidFill>
          <a:latin typeface="+mj-lt"/>
          <a:ea typeface="+mn-ea"/>
          <a:cs typeface="+mn-cs"/>
        </a:defRPr>
      </a:lvl1pPr>
    </p:titleStyle>
    <p:bodyStyle>
      <a:lvl1pPr marL="0" indent="0" algn="l" defTabSz="457189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bg1"/>
        </a:buClr>
        <a:buSzPct val="25000"/>
        <a:buFont typeface="Verdana" pitchFamily="34" charset="0"/>
        <a:buNone/>
        <a:defRPr kumimoji="0" lang="en-US" sz="1200" b="0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Calibri"/>
          <a:ea typeface="+mn-ea"/>
          <a:cs typeface="Segoe UI" panose="020B0502040204020203" pitchFamily="34" charset="0"/>
        </a:defRPr>
      </a:lvl1pPr>
      <a:lvl2pPr marL="177796" indent="-177796" algn="l" defTabSz="457189" rtl="0" eaLnBrk="1" latinLnBrk="0" hangingPunct="1">
        <a:lnSpc>
          <a:spcPct val="130000"/>
        </a:lnSpc>
        <a:spcBef>
          <a:spcPts val="0"/>
        </a:spcBef>
        <a:spcAft>
          <a:spcPts val="300"/>
        </a:spcAft>
        <a:buClr>
          <a:schemeClr val="accent1"/>
        </a:buClr>
        <a:buFont typeface="Arial" pitchFamily="34" charset="0"/>
        <a:buChar char="•"/>
        <a:defRPr lang="en-US" sz="1200" b="0" kern="1200" noProof="0" dirty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2pPr>
      <a:lvl3pPr marL="361942" indent="-180970" algn="l" defTabSz="514338" rtl="0" eaLnBrk="1" latinLnBrk="0" hangingPunct="1">
        <a:lnSpc>
          <a:spcPct val="130000"/>
        </a:lnSpc>
        <a:spcBef>
          <a:spcPts val="0"/>
        </a:spcBef>
        <a:spcAft>
          <a:spcPts val="300"/>
        </a:spcAft>
        <a:buClr>
          <a:schemeClr val="bg1">
            <a:lumMod val="50000"/>
          </a:schemeClr>
        </a:buClr>
        <a:buSzPct val="50000"/>
        <a:buFont typeface="Montserrat" panose="020B0604020202020204" charset="0"/>
        <a:buChar char="►"/>
        <a:defRPr lang="en-US" sz="1200" b="0" kern="1200" noProof="0" dirty="0" smtClean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3pPr>
      <a:lvl4pPr marL="536561" indent="-161921" algn="l" defTabSz="457189" rtl="0" eaLnBrk="1" latinLnBrk="0" hangingPunct="1">
        <a:spcBef>
          <a:spcPts val="0"/>
        </a:spcBef>
        <a:spcAft>
          <a:spcPts val="300"/>
        </a:spcAft>
        <a:buClr>
          <a:schemeClr val="bg1">
            <a:lumMod val="50000"/>
          </a:schemeClr>
        </a:buClr>
        <a:buSzPct val="60000"/>
        <a:buFont typeface="Courier New" pitchFamily="49" charset="0"/>
        <a:buChar char="o"/>
        <a:tabLst/>
        <a:defRPr lang="en-US" sz="1200" b="0" kern="1200" noProof="0" dirty="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812780" indent="-165096" algn="l" defTabSz="457189" rtl="0" eaLnBrk="1" latinLnBrk="0" hangingPunct="1">
        <a:spcBef>
          <a:spcPts val="0"/>
        </a:spcBef>
        <a:buClr>
          <a:srgbClr val="D52B1E"/>
        </a:buClr>
        <a:buFont typeface="Calibri" pitchFamily="34" charset="0"/>
        <a:buChar char="-"/>
        <a:tabLst/>
        <a:defRPr lang="en-GB" sz="1100" kern="1200" noProof="0">
          <a:solidFill>
            <a:srgbClr val="4D4F53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 userDrawn="1">
          <p15:clr>
            <a:srgbClr val="F26B43"/>
          </p15:clr>
        </p15:guide>
        <p15:guide id="2" pos="728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23888" y="1536701"/>
            <a:ext cx="10863262" cy="4271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Clr>
                <a:schemeClr val="bg1"/>
              </a:buClr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ext styles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  <a:p>
            <a:pPr lvl="1">
              <a:spcAft>
                <a:spcPts val="300"/>
              </a:spcAft>
              <a:buClr>
                <a:schemeClr val="accent1"/>
              </a:buClr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>
              <a:buClr>
                <a:schemeClr val="bg1">
                  <a:lumMod val="50000"/>
                </a:schemeClr>
              </a:buClr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60000"/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23888" y="509481"/>
            <a:ext cx="10944225" cy="36933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Graphic 22">
            <a:extLst>
              <a:ext uri="{FF2B5EF4-FFF2-40B4-BE49-F238E27FC236}">
                <a16:creationId xmlns:a16="http://schemas.microsoft.com/office/drawing/2014/main" id="{3F357135-FD07-4F16-BF61-11C5988881C0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BAB9369-BDB3-4BBE-8009-F56E54B3167E}"/>
              </a:ext>
            </a:extLst>
          </p:cNvPr>
          <p:cNvSpPr txBox="1">
            <a:spLocks/>
          </p:cNvSpPr>
          <p:nvPr userDrawn="1"/>
        </p:nvSpPr>
        <p:spPr>
          <a:xfrm>
            <a:off x="5821053" y="6409446"/>
            <a:ext cx="549897" cy="211193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900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r.›</a:t>
            </a:fld>
            <a:endParaRPr lang="en-US" sz="900" noProof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08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8" r:id="rId1"/>
    <p:sldLayoutId id="2147484389" r:id="rId2"/>
    <p:sldLayoutId id="2147484390" r:id="rId3"/>
    <p:sldLayoutId id="2147484391" r:id="rId4"/>
    <p:sldLayoutId id="2147484392" r:id="rId5"/>
    <p:sldLayoutId id="2147484393" r:id="rId6"/>
    <p:sldLayoutId id="2147484394" r:id="rId7"/>
    <p:sldLayoutId id="2147484395" r:id="rId8"/>
    <p:sldLayoutId id="2147484478" r:id="rId9"/>
    <p:sldLayoutId id="2147484479" r:id="rId10"/>
    <p:sldLayoutId id="2147484398" r:id="rId11"/>
    <p:sldLayoutId id="2147484494" r:id="rId12"/>
    <p:sldLayoutId id="2147484399" r:id="rId13"/>
    <p:sldLayoutId id="2147484400" r:id="rId14"/>
    <p:sldLayoutId id="2147484401" r:id="rId15"/>
    <p:sldLayoutId id="2147484402" r:id="rId16"/>
    <p:sldLayoutId id="2147484403" r:id="rId17"/>
    <p:sldLayoutId id="2147484404" r:id="rId18"/>
    <p:sldLayoutId id="2147484482" r:id="rId19"/>
    <p:sldLayoutId id="2147484483" r:id="rId20"/>
    <p:sldLayoutId id="2147484406" r:id="rId21"/>
    <p:sldLayoutId id="2147484407" r:id="rId22"/>
    <p:sldLayoutId id="2147484408" r:id="rId23"/>
    <p:sldLayoutId id="2147484409" r:id="rId24"/>
    <p:sldLayoutId id="2147484410" r:id="rId25"/>
    <p:sldLayoutId id="2147484411" r:id="rId26"/>
    <p:sldLayoutId id="2147484412" r:id="rId27"/>
    <p:sldLayoutId id="2147484413" r:id="rId28"/>
    <p:sldLayoutId id="2147484414" r:id="rId29"/>
    <p:sldLayoutId id="2147484415" r:id="rId30"/>
    <p:sldLayoutId id="2147484416" r:id="rId31"/>
    <p:sldLayoutId id="2147484417" r:id="rId32"/>
    <p:sldLayoutId id="2147484418" r:id="rId33"/>
    <p:sldLayoutId id="2147484480" r:id="rId34"/>
    <p:sldLayoutId id="2147484481" r:id="rId35"/>
    <p:sldLayoutId id="2147484421" r:id="rId36"/>
    <p:sldLayoutId id="2147484422" r:id="rId37"/>
    <p:sldLayoutId id="2147484423" r:id="rId38"/>
    <p:sldLayoutId id="2147484424" r:id="rId39"/>
    <p:sldLayoutId id="2147484485" r:id="rId40"/>
    <p:sldLayoutId id="2147484486" r:id="rId41"/>
    <p:sldLayoutId id="2147484487" r:id="rId42"/>
  </p:sldLayoutIdLst>
  <p:hf hdr="0"/>
  <p:txStyles>
    <p:titleStyle>
      <a:lvl1pPr marL="0" indent="0" algn="l" defTabSz="457189" rtl="0" eaLnBrk="1" latinLnBrk="0" hangingPunct="1">
        <a:spcBef>
          <a:spcPct val="0"/>
        </a:spcBef>
        <a:spcAft>
          <a:spcPts val="0"/>
        </a:spcAft>
        <a:buFont typeface="Arial" pitchFamily="34" charset="0"/>
        <a:buNone/>
        <a:defRPr lang="fr-FR" sz="2400" b="1" kern="1200" baseline="0" smtClean="0">
          <a:solidFill>
            <a:schemeClr val="accent1"/>
          </a:solidFill>
          <a:latin typeface="+mj-lt"/>
          <a:ea typeface="+mn-ea"/>
          <a:cs typeface="+mn-cs"/>
        </a:defRPr>
      </a:lvl1pPr>
    </p:titleStyle>
    <p:bodyStyle>
      <a:lvl1pPr marL="0" marR="0" indent="0" algn="l" defTabSz="457189" rtl="0" eaLnBrk="1" fontAlgn="auto" latinLnBrk="0" hangingPunct="1">
        <a:lnSpc>
          <a:spcPct val="130000"/>
        </a:lnSpc>
        <a:spcBef>
          <a:spcPts val="0"/>
        </a:spcBef>
        <a:spcAft>
          <a:spcPts val="1200"/>
        </a:spcAft>
        <a:buClr>
          <a:prstClr val="white"/>
        </a:buClr>
        <a:buSzPct val="25000"/>
        <a:buFont typeface="Verdana" pitchFamily="34" charset="0"/>
        <a:buNone/>
        <a:tabLst/>
        <a:defRPr kumimoji="0" lang="fr-FR" sz="1200" b="0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Calibri"/>
          <a:ea typeface="+mn-ea"/>
          <a:cs typeface="Segoe UI" panose="020B0502040204020203" pitchFamily="34" charset="0"/>
        </a:defRPr>
      </a:lvl1pPr>
      <a:lvl2pPr marL="177796" marR="0" indent="-177796" algn="l" defTabSz="457189" rtl="0" eaLnBrk="1" fontAlgn="auto" latinLnBrk="0" hangingPunct="1">
        <a:lnSpc>
          <a:spcPct val="130000"/>
        </a:lnSpc>
        <a:spcBef>
          <a:spcPts val="0"/>
        </a:spcBef>
        <a:spcAft>
          <a:spcPts val="600"/>
        </a:spcAft>
        <a:buClr>
          <a:srgbClr val="6C03A8"/>
        </a:buClr>
        <a:buSzTx/>
        <a:buFont typeface="Arial" pitchFamily="34" charset="0"/>
        <a:buChar char="•"/>
        <a:tabLst/>
        <a:defRPr lang="fr-FR" sz="1200" b="0" kern="1200" noProof="0" dirty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2pPr>
      <a:lvl3pPr marL="361942" marR="0" indent="-180970" algn="l" defTabSz="514338" rtl="0" eaLnBrk="1" fontAlgn="auto" latinLnBrk="0" hangingPunct="1">
        <a:lnSpc>
          <a:spcPct val="130000"/>
        </a:lnSpc>
        <a:spcBef>
          <a:spcPts val="0"/>
        </a:spcBef>
        <a:spcAft>
          <a:spcPts val="300"/>
        </a:spcAft>
        <a:buClr>
          <a:prstClr val="white">
            <a:lumMod val="50000"/>
          </a:prstClr>
        </a:buClr>
        <a:buSzPct val="50000"/>
        <a:buFont typeface="Montserrat" panose="020B0604020202020204" charset="0"/>
        <a:buChar char="►"/>
        <a:tabLst/>
        <a:defRPr lang="fr-FR" sz="1200" b="0" kern="1200" noProof="0" dirty="0" smtClean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3pPr>
      <a:lvl4pPr marL="536561" indent="-161921" algn="l" defTabSz="457189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Courier New" pitchFamily="49" charset="0"/>
        <a:buChar char="o"/>
        <a:tabLst/>
        <a:defRPr lang="en-US" sz="1200" b="0" kern="1200" noProof="0" dirty="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812780" indent="-165096" algn="l" defTabSz="457189" rtl="0" eaLnBrk="1" latinLnBrk="0" hangingPunct="1">
        <a:spcBef>
          <a:spcPts val="0"/>
        </a:spcBef>
        <a:buClr>
          <a:srgbClr val="D52B1E"/>
        </a:buClr>
        <a:buFont typeface="Calibri" pitchFamily="34" charset="0"/>
        <a:buChar char="-"/>
        <a:tabLst/>
        <a:defRPr lang="en-GB" sz="1100" kern="1200" noProof="0">
          <a:solidFill>
            <a:srgbClr val="4D4F53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23888" y="1536701"/>
            <a:ext cx="10863262" cy="4271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Clr>
                <a:schemeClr val="bg1"/>
              </a:buClr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ick to edit Master text styles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  <a:p>
            <a:pPr lvl="1">
              <a:spcAft>
                <a:spcPts val="300"/>
              </a:spcAft>
              <a:buClr>
                <a:schemeClr val="accent1"/>
              </a:buClr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ond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lvl="2">
              <a:buClr>
                <a:schemeClr val="bg1">
                  <a:lumMod val="50000"/>
                </a:schemeClr>
              </a:buClr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ir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v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lvl="3">
              <a:lnSpc>
                <a:spcPct val="13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60000"/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urt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23888" y="509481"/>
            <a:ext cx="10944225" cy="36933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Graphic 22">
            <a:extLst>
              <a:ext uri="{FF2B5EF4-FFF2-40B4-BE49-F238E27FC236}">
                <a16:creationId xmlns:a16="http://schemas.microsoft.com/office/drawing/2014/main" id="{5CEC2984-1915-47FA-9CBD-1D0481640839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E243F4C-A453-4314-82AB-88EAC262FEE4}"/>
              </a:ext>
            </a:extLst>
          </p:cNvPr>
          <p:cNvSpPr txBox="1">
            <a:spLocks/>
          </p:cNvSpPr>
          <p:nvPr userDrawn="1"/>
        </p:nvSpPr>
        <p:spPr>
          <a:xfrm>
            <a:off x="5821053" y="6409446"/>
            <a:ext cx="549897" cy="211193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900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r.›</a:t>
            </a:fld>
            <a:endParaRPr lang="en-US" sz="900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CDBC503-F6E6-4F9E-B6B1-1C10F6525F0F}"/>
              </a:ext>
            </a:extLst>
          </p:cNvPr>
          <p:cNvSpPr txBox="1">
            <a:spLocks/>
          </p:cNvSpPr>
          <p:nvPr userDrawn="1"/>
        </p:nvSpPr>
        <p:spPr>
          <a:xfrm>
            <a:off x="623888" y="6393427"/>
            <a:ext cx="3001962" cy="227210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900" noProof="0">
                <a:solidFill>
                  <a:schemeClr val="accent5"/>
                </a:solidFill>
              </a:rPr>
              <a:t>Insert the </a:t>
            </a:r>
            <a:r>
              <a:rPr lang="fr-FR" sz="900" noProof="0" err="1">
                <a:solidFill>
                  <a:schemeClr val="accent5"/>
                </a:solidFill>
              </a:rPr>
              <a:t>footer</a:t>
            </a:r>
            <a:r>
              <a:rPr lang="fr-FR" sz="900" noProof="0">
                <a:solidFill>
                  <a:schemeClr val="accent5"/>
                </a:solidFill>
              </a:rPr>
              <a:t> </a:t>
            </a:r>
            <a:r>
              <a:rPr lang="fr-FR" sz="900" noProof="0" err="1">
                <a:solidFill>
                  <a:schemeClr val="accent5"/>
                </a:solidFill>
              </a:rPr>
              <a:t>into</a:t>
            </a:r>
            <a:r>
              <a:rPr lang="fr-FR" sz="900" noProof="0">
                <a:solidFill>
                  <a:schemeClr val="accent5"/>
                </a:solidFill>
              </a:rPr>
              <a:t> the 1</a:t>
            </a:r>
            <a:r>
              <a:rPr lang="fr-FR" sz="900" baseline="30000" noProof="0">
                <a:solidFill>
                  <a:schemeClr val="accent5"/>
                </a:solidFill>
              </a:rPr>
              <a:t>st</a:t>
            </a:r>
            <a:r>
              <a:rPr lang="fr-FR" sz="900" noProof="0">
                <a:solidFill>
                  <a:schemeClr val="accent5"/>
                </a:solidFill>
              </a:rPr>
              <a:t> page on the MASTER</a:t>
            </a:r>
          </a:p>
        </p:txBody>
      </p:sp>
    </p:spTree>
    <p:extLst>
      <p:ext uri="{BB962C8B-B14F-4D97-AF65-F5344CB8AC3E}">
        <p14:creationId xmlns:p14="http://schemas.microsoft.com/office/powerpoint/2010/main" val="2140646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5" r:id="rId1"/>
    <p:sldLayoutId id="2147484426" r:id="rId2"/>
    <p:sldLayoutId id="2147484427" r:id="rId3"/>
    <p:sldLayoutId id="2147484428" r:id="rId4"/>
    <p:sldLayoutId id="2147484429" r:id="rId5"/>
    <p:sldLayoutId id="2147484430" r:id="rId6"/>
    <p:sldLayoutId id="2147484431" r:id="rId7"/>
    <p:sldLayoutId id="2147484432" r:id="rId8"/>
    <p:sldLayoutId id="2147484433" r:id="rId9"/>
    <p:sldLayoutId id="2147484434" r:id="rId10"/>
    <p:sldLayoutId id="2147484435" r:id="rId11"/>
    <p:sldLayoutId id="2147484436" r:id="rId12"/>
    <p:sldLayoutId id="2147484437" r:id="rId13"/>
    <p:sldLayoutId id="2147484438" r:id="rId14"/>
    <p:sldLayoutId id="2147484439" r:id="rId15"/>
    <p:sldLayoutId id="2147484440" r:id="rId16"/>
    <p:sldLayoutId id="2147484441" r:id="rId17"/>
    <p:sldLayoutId id="2147484442" r:id="rId18"/>
    <p:sldLayoutId id="2147484484" r:id="rId19"/>
    <p:sldLayoutId id="2147484443" r:id="rId20"/>
    <p:sldLayoutId id="2147484444" r:id="rId21"/>
    <p:sldLayoutId id="2147484445" r:id="rId22"/>
    <p:sldLayoutId id="2147484447" r:id="rId23"/>
    <p:sldLayoutId id="2147484448" r:id="rId24"/>
    <p:sldLayoutId id="2147484449" r:id="rId25"/>
    <p:sldLayoutId id="2147484450" r:id="rId26"/>
    <p:sldLayoutId id="2147484451" r:id="rId27"/>
    <p:sldLayoutId id="2147484452" r:id="rId28"/>
    <p:sldLayoutId id="2147484453" r:id="rId29"/>
    <p:sldLayoutId id="2147484454" r:id="rId30"/>
    <p:sldLayoutId id="2147484455" r:id="rId31"/>
    <p:sldLayoutId id="2147484456" r:id="rId32"/>
    <p:sldLayoutId id="2147484457" r:id="rId33"/>
    <p:sldLayoutId id="2147484458" r:id="rId34"/>
    <p:sldLayoutId id="2147484459" r:id="rId35"/>
    <p:sldLayoutId id="2147484460" r:id="rId36"/>
    <p:sldLayoutId id="2147484461" r:id="rId37"/>
  </p:sldLayoutIdLst>
  <p:hf hdr="0"/>
  <p:txStyles>
    <p:titleStyle>
      <a:lvl1pPr marL="0" indent="0" algn="l" defTabSz="457189" rtl="0" eaLnBrk="1" latinLnBrk="0" hangingPunct="1">
        <a:spcBef>
          <a:spcPct val="0"/>
        </a:spcBef>
        <a:spcAft>
          <a:spcPts val="0"/>
        </a:spcAft>
        <a:buFont typeface="Arial" pitchFamily="34" charset="0"/>
        <a:buNone/>
        <a:defRPr lang="fr-FR" sz="2400" b="1" kern="1200" baseline="0" smtClean="0">
          <a:solidFill>
            <a:schemeClr val="accent1"/>
          </a:solidFill>
          <a:latin typeface="+mj-lt"/>
          <a:ea typeface="+mn-ea"/>
          <a:cs typeface="+mn-cs"/>
        </a:defRPr>
      </a:lvl1pPr>
    </p:titleStyle>
    <p:bodyStyle>
      <a:lvl1pPr marL="0" marR="0" indent="0" algn="l" defTabSz="457189" rtl="0" eaLnBrk="1" fontAlgn="auto" latinLnBrk="0" hangingPunct="1">
        <a:lnSpc>
          <a:spcPct val="130000"/>
        </a:lnSpc>
        <a:spcBef>
          <a:spcPts val="0"/>
        </a:spcBef>
        <a:spcAft>
          <a:spcPts val="1200"/>
        </a:spcAft>
        <a:buClr>
          <a:prstClr val="white"/>
        </a:buClr>
        <a:buSzPct val="25000"/>
        <a:buFont typeface="Verdana" pitchFamily="34" charset="0"/>
        <a:buNone/>
        <a:tabLst/>
        <a:defRPr kumimoji="0" lang="fr-FR" sz="1200" b="0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Calibri"/>
          <a:ea typeface="+mn-ea"/>
          <a:cs typeface="Segoe UI" panose="020B0502040204020203" pitchFamily="34" charset="0"/>
        </a:defRPr>
      </a:lvl1pPr>
      <a:lvl2pPr marL="177796" marR="0" indent="-177796" algn="l" defTabSz="457189" rtl="0" eaLnBrk="1" fontAlgn="auto" latinLnBrk="0" hangingPunct="1">
        <a:lnSpc>
          <a:spcPct val="130000"/>
        </a:lnSpc>
        <a:spcBef>
          <a:spcPts val="0"/>
        </a:spcBef>
        <a:spcAft>
          <a:spcPts val="600"/>
        </a:spcAft>
        <a:buClr>
          <a:srgbClr val="6C03A8"/>
        </a:buClr>
        <a:buSzTx/>
        <a:buFont typeface="Arial" pitchFamily="34" charset="0"/>
        <a:buChar char="•"/>
        <a:tabLst/>
        <a:defRPr lang="fr-FR" sz="1200" b="0" kern="1200" noProof="0" dirty="0" smtClean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2pPr>
      <a:lvl3pPr marL="361942" marR="0" indent="-180970" algn="l" defTabSz="514338" rtl="0" eaLnBrk="1" fontAlgn="auto" latinLnBrk="0" hangingPunct="1">
        <a:lnSpc>
          <a:spcPct val="130000"/>
        </a:lnSpc>
        <a:spcBef>
          <a:spcPts val="0"/>
        </a:spcBef>
        <a:spcAft>
          <a:spcPts val="300"/>
        </a:spcAft>
        <a:buClr>
          <a:prstClr val="white">
            <a:lumMod val="50000"/>
          </a:prstClr>
        </a:buClr>
        <a:buSzPct val="50000"/>
        <a:buFont typeface="Montserrat" panose="020B0604020202020204" charset="0"/>
        <a:buChar char="►"/>
        <a:tabLst/>
        <a:defRPr lang="fr-FR" sz="1200" b="0" kern="1200" noProof="0" dirty="0" smtClean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3pPr>
      <a:lvl4pPr marL="536561" indent="-161921" algn="l" defTabSz="457189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Courier New" pitchFamily="49" charset="0"/>
        <a:buChar char="o"/>
        <a:tabLst/>
        <a:defRPr lang="en-US" sz="1200" b="0" kern="1200" noProof="0" dirty="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812780" indent="-165096" algn="l" defTabSz="457189" rtl="0" eaLnBrk="1" latinLnBrk="0" hangingPunct="1">
        <a:spcBef>
          <a:spcPts val="0"/>
        </a:spcBef>
        <a:buClr>
          <a:srgbClr val="D52B1E"/>
        </a:buClr>
        <a:buFont typeface="Calibri" pitchFamily="34" charset="0"/>
        <a:buChar char="-"/>
        <a:tabLst/>
        <a:defRPr lang="en-GB" sz="1100" kern="1200" noProof="0">
          <a:solidFill>
            <a:srgbClr val="4D4F53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1BD470C-A6E0-4F2F-A724-26CE288D4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64497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1BD470C-A6E0-4F2F-A724-26CE288D4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7AEE7B1-9615-47B3-B52E-737A84AD61A0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C5A7EE-DCC9-44DE-810E-BF411CF38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431781"/>
            <a:ext cx="11523131" cy="553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5F8D77-E7D8-4C22-AB07-19DEAAF1FA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433" y="1375889"/>
            <a:ext cx="11523131" cy="14092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9" name="Picture 28" hidden="1">
            <a:extLst>
              <a:ext uri="{FF2B5EF4-FFF2-40B4-BE49-F238E27FC236}">
                <a16:creationId xmlns:a16="http://schemas.microsoft.com/office/drawing/2014/main" id="{36A6A6E5-032A-494B-B539-3B7ABB13ACA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4589" y="-2251787"/>
            <a:ext cx="7555491" cy="910896"/>
          </a:xfrm>
          <a:prstGeom prst="rect">
            <a:avLst/>
          </a:prstGeom>
        </p:spPr>
      </p:pic>
      <p:pic>
        <p:nvPicPr>
          <p:cNvPr id="30" name="Picture 29" hidden="1">
            <a:extLst>
              <a:ext uri="{FF2B5EF4-FFF2-40B4-BE49-F238E27FC236}">
                <a16:creationId xmlns:a16="http://schemas.microsoft.com/office/drawing/2014/main" id="{1377DA45-4A8A-4904-B818-85B178FA0EC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4589" y="-3254759"/>
            <a:ext cx="7555491" cy="910896"/>
          </a:xfrm>
          <a:prstGeom prst="rect">
            <a:avLst/>
          </a:prstGeom>
        </p:spPr>
      </p:pic>
      <p:grpSp>
        <p:nvGrpSpPr>
          <p:cNvPr id="75" name="Group 74" hidden="1">
            <a:extLst>
              <a:ext uri="{FF2B5EF4-FFF2-40B4-BE49-F238E27FC236}">
                <a16:creationId xmlns:a16="http://schemas.microsoft.com/office/drawing/2014/main" id="{02E693B4-A3A3-4B94-ADD9-E925136A9A71}"/>
              </a:ext>
            </a:extLst>
          </p:cNvPr>
          <p:cNvGrpSpPr/>
          <p:nvPr/>
        </p:nvGrpSpPr>
        <p:grpSpPr>
          <a:xfrm>
            <a:off x="0" y="-21134"/>
            <a:ext cx="12192000" cy="6864351"/>
            <a:chOff x="14728" y="0"/>
            <a:chExt cx="9144000" cy="6864351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0129EF20-AFCC-4C1A-8DC6-6F1940F6675D}"/>
                </a:ext>
              </a:extLst>
            </p:cNvPr>
            <p:cNvCxnSpPr/>
            <p:nvPr/>
          </p:nvCxnSpPr>
          <p:spPr>
            <a:xfrm>
              <a:off x="8930128" y="0"/>
              <a:ext cx="0" cy="6858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D3E4D007-17F5-43D9-A84D-E937C3D5B5A7}"/>
                </a:ext>
              </a:extLst>
            </p:cNvPr>
            <p:cNvCxnSpPr/>
            <p:nvPr/>
          </p:nvCxnSpPr>
          <p:spPr>
            <a:xfrm>
              <a:off x="336886" y="6351"/>
              <a:ext cx="0" cy="6858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2E579AF9-FEC4-48D2-979C-015CEDE377A1}"/>
                </a:ext>
              </a:extLst>
            </p:cNvPr>
            <p:cNvGrpSpPr/>
            <p:nvPr/>
          </p:nvGrpSpPr>
          <p:grpSpPr>
            <a:xfrm>
              <a:off x="4519755" y="463751"/>
              <a:ext cx="133946" cy="5940660"/>
              <a:chOff x="2439593" y="460786"/>
              <a:chExt cx="133946" cy="5929501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E81D7F3F-A8CF-4CD1-AB20-65596EAB9550}"/>
                  </a:ext>
                </a:extLst>
              </p:cNvPr>
              <p:cNvCxnSpPr/>
              <p:nvPr/>
            </p:nvCxnSpPr>
            <p:spPr>
              <a:xfrm>
                <a:off x="24395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A577C3C-06B7-4BEF-A99B-2B389880EAAC}"/>
                  </a:ext>
                </a:extLst>
              </p:cNvPr>
              <p:cNvCxnSpPr/>
              <p:nvPr/>
            </p:nvCxnSpPr>
            <p:spPr>
              <a:xfrm>
                <a:off x="2573539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F1AB7FCD-046F-4A40-81A1-FB4252D41419}"/>
                </a:ext>
              </a:extLst>
            </p:cNvPr>
            <p:cNvGrpSpPr/>
            <p:nvPr/>
          </p:nvGrpSpPr>
          <p:grpSpPr>
            <a:xfrm>
              <a:off x="6610808" y="463751"/>
              <a:ext cx="133947" cy="5940660"/>
              <a:chOff x="4510764" y="463727"/>
              <a:chExt cx="133947" cy="5926560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2AE3D933-81C2-4242-A6B4-D650859332B2}"/>
                  </a:ext>
                </a:extLst>
              </p:cNvPr>
              <p:cNvCxnSpPr/>
              <p:nvPr/>
            </p:nvCxnSpPr>
            <p:spPr>
              <a:xfrm>
                <a:off x="4510764" y="463727"/>
                <a:ext cx="0" cy="592656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ED3D94B3-6296-4B13-8791-DE795321DB56}"/>
                  </a:ext>
                </a:extLst>
              </p:cNvPr>
              <p:cNvCxnSpPr/>
              <p:nvPr/>
            </p:nvCxnSpPr>
            <p:spPr>
              <a:xfrm>
                <a:off x="4644711" y="463727"/>
                <a:ext cx="0" cy="592656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02E732A-3E48-48A2-AEE0-AAF6F66C4A84}"/>
                </a:ext>
              </a:extLst>
            </p:cNvPr>
            <p:cNvGrpSpPr/>
            <p:nvPr/>
          </p:nvGrpSpPr>
          <p:grpSpPr>
            <a:xfrm>
              <a:off x="471595" y="2356361"/>
              <a:ext cx="8458533" cy="131015"/>
              <a:chOff x="456867" y="1353825"/>
              <a:chExt cx="8458533" cy="131015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322596D-2BDA-44D5-84E4-5E70FD9F79F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6867" y="1353825"/>
                <a:ext cx="8458533" cy="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11AF9512-3F3B-4A72-AAE8-FD1B3D0352E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6867" y="1484839"/>
                <a:ext cx="8458533" cy="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292FFC0-58BC-4450-8035-327A3BAC4F75}"/>
                </a:ext>
              </a:extLst>
            </p:cNvPr>
            <p:cNvGrpSpPr/>
            <p:nvPr/>
          </p:nvGrpSpPr>
          <p:grpSpPr>
            <a:xfrm>
              <a:off x="472902" y="463751"/>
              <a:ext cx="2089746" cy="5940660"/>
              <a:chOff x="483793" y="460786"/>
              <a:chExt cx="2089746" cy="5929501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49434DD1-8B99-4D2F-8D1B-CE6ED9CC408A}"/>
                  </a:ext>
                </a:extLst>
              </p:cNvPr>
              <p:cNvCxnSpPr/>
              <p:nvPr/>
            </p:nvCxnSpPr>
            <p:spPr>
              <a:xfrm>
                <a:off x="24395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F8F3CD2-2411-414A-A512-25264956D0B9}"/>
                  </a:ext>
                </a:extLst>
              </p:cNvPr>
              <p:cNvCxnSpPr/>
              <p:nvPr/>
            </p:nvCxnSpPr>
            <p:spPr>
              <a:xfrm>
                <a:off x="2573539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0F4C622-444C-4922-8C66-36B8705B413F}"/>
                  </a:ext>
                </a:extLst>
              </p:cNvPr>
              <p:cNvCxnSpPr/>
              <p:nvPr/>
            </p:nvCxnSpPr>
            <p:spPr>
              <a:xfrm>
                <a:off x="4837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DFA405C9-5230-4100-949F-143A7E15D1F5}"/>
                  </a:ext>
                </a:extLst>
              </p:cNvPr>
              <p:cNvCxnSpPr/>
              <p:nvPr/>
            </p:nvCxnSpPr>
            <p:spPr>
              <a:xfrm>
                <a:off x="747856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0FF73647-8815-499D-8A2D-9F93884CB424}"/>
                </a:ext>
              </a:extLst>
            </p:cNvPr>
            <p:cNvCxnSpPr/>
            <p:nvPr/>
          </p:nvCxnSpPr>
          <p:spPr>
            <a:xfrm>
              <a:off x="14728" y="6404410"/>
              <a:ext cx="91440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1ECB140A-0653-41B0-AB0C-E684BC7DA81C}"/>
                </a:ext>
              </a:extLst>
            </p:cNvPr>
            <p:cNvCxnSpPr/>
            <p:nvPr/>
          </p:nvCxnSpPr>
          <p:spPr>
            <a:xfrm>
              <a:off x="14728" y="463350"/>
              <a:ext cx="91440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BB1146AB-BF27-40A5-8397-67494A9D3591}"/>
                </a:ext>
              </a:extLst>
            </p:cNvPr>
            <p:cNvGrpSpPr/>
            <p:nvPr/>
          </p:nvGrpSpPr>
          <p:grpSpPr>
            <a:xfrm>
              <a:off x="471595" y="4380386"/>
              <a:ext cx="8458533" cy="131015"/>
              <a:chOff x="456867" y="1353825"/>
              <a:chExt cx="8458533" cy="131015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19228E4C-62A0-453D-ABC2-171A3CEA08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6867" y="1353825"/>
                <a:ext cx="8458533" cy="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CF5D1947-040F-4893-BDAA-67544ADA70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6867" y="1484839"/>
                <a:ext cx="8458533" cy="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1" name="Group 30" hidden="1">
            <a:extLst>
              <a:ext uri="{FF2B5EF4-FFF2-40B4-BE49-F238E27FC236}">
                <a16:creationId xmlns:a16="http://schemas.microsoft.com/office/drawing/2014/main" id="{5A9DAA76-F85D-4B84-811E-690D59A17CFD}"/>
              </a:ext>
            </a:extLst>
          </p:cNvPr>
          <p:cNvGrpSpPr/>
          <p:nvPr userDrawn="1"/>
        </p:nvGrpSpPr>
        <p:grpSpPr>
          <a:xfrm>
            <a:off x="0" y="-21134"/>
            <a:ext cx="12192000" cy="6864351"/>
            <a:chOff x="14728" y="0"/>
            <a:chExt cx="9144000" cy="686435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B7098B39-29DF-43F9-8623-85DA09EC5B30}"/>
                </a:ext>
              </a:extLst>
            </p:cNvPr>
            <p:cNvCxnSpPr/>
            <p:nvPr/>
          </p:nvCxnSpPr>
          <p:spPr>
            <a:xfrm>
              <a:off x="8930128" y="0"/>
              <a:ext cx="0" cy="6858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9B0246B-25BB-45EB-AE26-4B3EEB8E2538}"/>
                </a:ext>
              </a:extLst>
            </p:cNvPr>
            <p:cNvCxnSpPr/>
            <p:nvPr/>
          </p:nvCxnSpPr>
          <p:spPr>
            <a:xfrm>
              <a:off x="336886" y="6351"/>
              <a:ext cx="0" cy="6858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5D699CA3-7850-4C11-82BF-25130CFD9551}"/>
                </a:ext>
              </a:extLst>
            </p:cNvPr>
            <p:cNvGrpSpPr/>
            <p:nvPr/>
          </p:nvGrpSpPr>
          <p:grpSpPr>
            <a:xfrm>
              <a:off x="4519755" y="463751"/>
              <a:ext cx="133946" cy="5940660"/>
              <a:chOff x="2439593" y="460786"/>
              <a:chExt cx="133946" cy="5929501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184332AC-86E1-4A29-94A1-0703B64208C7}"/>
                  </a:ext>
                </a:extLst>
              </p:cNvPr>
              <p:cNvCxnSpPr/>
              <p:nvPr/>
            </p:nvCxnSpPr>
            <p:spPr>
              <a:xfrm>
                <a:off x="24395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A4F1C61-5EAA-4FA1-95EF-426B2FA75151}"/>
                  </a:ext>
                </a:extLst>
              </p:cNvPr>
              <p:cNvCxnSpPr/>
              <p:nvPr/>
            </p:nvCxnSpPr>
            <p:spPr>
              <a:xfrm>
                <a:off x="2573539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92D0B6D9-0A08-4BCF-8B7F-24CDE88F210E}"/>
                </a:ext>
              </a:extLst>
            </p:cNvPr>
            <p:cNvGrpSpPr/>
            <p:nvPr/>
          </p:nvGrpSpPr>
          <p:grpSpPr>
            <a:xfrm>
              <a:off x="6610808" y="463751"/>
              <a:ext cx="133947" cy="5940660"/>
              <a:chOff x="4510764" y="463727"/>
              <a:chExt cx="133947" cy="5926560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398A21B3-B631-43D4-A732-E7A2982F342F}"/>
                  </a:ext>
                </a:extLst>
              </p:cNvPr>
              <p:cNvCxnSpPr/>
              <p:nvPr/>
            </p:nvCxnSpPr>
            <p:spPr>
              <a:xfrm>
                <a:off x="4510764" y="463727"/>
                <a:ext cx="0" cy="592656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B28445C-3A4E-4AE6-A34B-48D93144C628}"/>
                  </a:ext>
                </a:extLst>
              </p:cNvPr>
              <p:cNvCxnSpPr/>
              <p:nvPr/>
            </p:nvCxnSpPr>
            <p:spPr>
              <a:xfrm>
                <a:off x="4644711" y="463727"/>
                <a:ext cx="0" cy="592656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B4F7AEE-5173-4445-974D-45840B080C8E}"/>
                </a:ext>
              </a:extLst>
            </p:cNvPr>
            <p:cNvGrpSpPr/>
            <p:nvPr/>
          </p:nvGrpSpPr>
          <p:grpSpPr>
            <a:xfrm>
              <a:off x="471595" y="2356361"/>
              <a:ext cx="8458533" cy="131015"/>
              <a:chOff x="456867" y="1353825"/>
              <a:chExt cx="8458533" cy="131015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4E33959-69CB-4E22-847F-84EFCB277ED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6867" y="1353825"/>
                <a:ext cx="8458533" cy="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2DF8791D-5DBC-462A-AF2E-1298BFA9494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6867" y="1484839"/>
                <a:ext cx="8458533" cy="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737C8E5-CB57-44AE-93FA-4E75194AC772}"/>
                </a:ext>
              </a:extLst>
            </p:cNvPr>
            <p:cNvGrpSpPr/>
            <p:nvPr/>
          </p:nvGrpSpPr>
          <p:grpSpPr>
            <a:xfrm>
              <a:off x="472902" y="463751"/>
              <a:ext cx="2089746" cy="5940660"/>
              <a:chOff x="483793" y="460786"/>
              <a:chExt cx="2089746" cy="5929501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AF13C4E-D668-4234-8B3E-9F9EA80D15CC}"/>
                  </a:ext>
                </a:extLst>
              </p:cNvPr>
              <p:cNvCxnSpPr/>
              <p:nvPr/>
            </p:nvCxnSpPr>
            <p:spPr>
              <a:xfrm>
                <a:off x="24395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6ECFC933-470F-42CC-AE96-6A05517CE67F}"/>
                  </a:ext>
                </a:extLst>
              </p:cNvPr>
              <p:cNvCxnSpPr/>
              <p:nvPr/>
            </p:nvCxnSpPr>
            <p:spPr>
              <a:xfrm>
                <a:off x="2573539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B94D10A-C15C-459F-A2B2-DDFE9477F63F}"/>
                  </a:ext>
                </a:extLst>
              </p:cNvPr>
              <p:cNvCxnSpPr/>
              <p:nvPr/>
            </p:nvCxnSpPr>
            <p:spPr>
              <a:xfrm>
                <a:off x="4837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16FFBD6-E080-4A57-8277-DF742723445E}"/>
                  </a:ext>
                </a:extLst>
              </p:cNvPr>
              <p:cNvCxnSpPr/>
              <p:nvPr/>
            </p:nvCxnSpPr>
            <p:spPr>
              <a:xfrm>
                <a:off x="747856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05F81C3-3376-4DA4-9808-E5E6DADB14A4}"/>
                </a:ext>
              </a:extLst>
            </p:cNvPr>
            <p:cNvCxnSpPr/>
            <p:nvPr/>
          </p:nvCxnSpPr>
          <p:spPr>
            <a:xfrm>
              <a:off x="14728" y="6404410"/>
              <a:ext cx="91440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5386D7D0-5FB7-496D-9BF1-2FC21521B328}"/>
                </a:ext>
              </a:extLst>
            </p:cNvPr>
            <p:cNvCxnSpPr/>
            <p:nvPr/>
          </p:nvCxnSpPr>
          <p:spPr>
            <a:xfrm>
              <a:off x="14728" y="463350"/>
              <a:ext cx="91440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796D0CC-BEBD-4A39-A246-261626AB88EE}"/>
                </a:ext>
              </a:extLst>
            </p:cNvPr>
            <p:cNvGrpSpPr/>
            <p:nvPr/>
          </p:nvGrpSpPr>
          <p:grpSpPr>
            <a:xfrm>
              <a:off x="471595" y="4380386"/>
              <a:ext cx="8458533" cy="131015"/>
              <a:chOff x="456867" y="1353825"/>
              <a:chExt cx="8458533" cy="131015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04E5171-01B1-47BB-A918-289BA71CFE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6867" y="1353825"/>
                <a:ext cx="8458533" cy="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78AFF0E6-FA6A-4595-AF2E-59C495E6904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6867" y="1484839"/>
                <a:ext cx="8458533" cy="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BE6E9AEE-93E1-478D-B8A4-989F8A871F98}"/>
              </a:ext>
            </a:extLst>
          </p:cNvPr>
          <p:cNvSpPr txBox="1">
            <a:spLocks/>
          </p:cNvSpPr>
          <p:nvPr userDrawn="1"/>
        </p:nvSpPr>
        <p:spPr>
          <a:xfrm>
            <a:off x="5740183" y="6441674"/>
            <a:ext cx="733196" cy="281591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933" noProof="0" smtClean="0">
                <a:solidFill>
                  <a:schemeClr val="bg1"/>
                </a:solidFill>
              </a:rPr>
              <a:pPr algn="ctr"/>
              <a:t>‹Nr.›</a:t>
            </a:fld>
            <a:endParaRPr lang="en-US" sz="933" noProof="0">
              <a:solidFill>
                <a:schemeClr val="bg1"/>
              </a:solidFill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54DE979B-FDAB-4551-9E24-63AEE464C375}"/>
              </a:ext>
            </a:extLst>
          </p:cNvPr>
          <p:cNvSpPr txBox="1">
            <a:spLocks/>
          </p:cNvSpPr>
          <p:nvPr userDrawn="1"/>
        </p:nvSpPr>
        <p:spPr>
          <a:xfrm>
            <a:off x="623888" y="6393427"/>
            <a:ext cx="3958387" cy="336147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/>
            <a:r>
              <a:rPr lang="fr-FR" sz="900">
                <a:solidFill>
                  <a:schemeClr val="tx1"/>
                </a:solidFill>
                <a:latin typeface="Calibri"/>
              </a:rPr>
              <a:t>©2023 BearingPoint </a:t>
            </a:r>
          </a:p>
        </p:txBody>
      </p:sp>
    </p:spTree>
    <p:extLst>
      <p:ext uri="{BB962C8B-B14F-4D97-AF65-F5344CB8AC3E}">
        <p14:creationId xmlns:p14="http://schemas.microsoft.com/office/powerpoint/2010/main" val="2492851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7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66693" indent="-266693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0839" indent="-184146" algn="l" defTabSz="914377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23888" y="1536701"/>
            <a:ext cx="10863262" cy="4271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>
              <a:lnSpc>
                <a:spcPct val="130000"/>
              </a:lnSpc>
            </a:pPr>
            <a:r>
              <a:rPr lang="en-US" noProof="0"/>
              <a:t>Fourth level</a:t>
            </a: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23888" y="509481"/>
            <a:ext cx="10944225" cy="36933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70DCD42-C454-4CF9-A367-CF9A36793C89}"/>
              </a:ext>
            </a:extLst>
          </p:cNvPr>
          <p:cNvSpPr txBox="1">
            <a:spLocks/>
          </p:cNvSpPr>
          <p:nvPr/>
        </p:nvSpPr>
        <p:spPr>
          <a:xfrm>
            <a:off x="5821053" y="6409446"/>
            <a:ext cx="549897" cy="211193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900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r.›</a:t>
            </a:fld>
            <a:endParaRPr lang="en-US" sz="900" noProof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6" name="Graphic 22">
            <a:extLst>
              <a:ext uri="{FF2B5EF4-FFF2-40B4-BE49-F238E27FC236}">
                <a16:creationId xmlns:a16="http://schemas.microsoft.com/office/drawing/2014/main" id="{C5943B39-DE1B-4307-B002-5846E4E3F0D7}"/>
              </a:ext>
            </a:extLst>
          </p:cNvPr>
          <p:cNvPicPr>
            <a:picLocks noChangeAspect="1"/>
          </p:cNvPicPr>
          <p:nvPr/>
        </p:nvPicPr>
        <p:blipFill>
          <a:blip r:embed="rId7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10191073" y="6420979"/>
            <a:ext cx="1377040" cy="22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93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  <p:sldLayoutId id="2147484517" r:id="rId9"/>
    <p:sldLayoutId id="2147484518" r:id="rId10"/>
    <p:sldLayoutId id="2147484519" r:id="rId11"/>
    <p:sldLayoutId id="2147484520" r:id="rId12"/>
    <p:sldLayoutId id="2147484521" r:id="rId13"/>
    <p:sldLayoutId id="2147484522" r:id="rId14"/>
    <p:sldLayoutId id="2147484523" r:id="rId15"/>
    <p:sldLayoutId id="2147484524" r:id="rId16"/>
    <p:sldLayoutId id="2147484525" r:id="rId17"/>
    <p:sldLayoutId id="2147484526" r:id="rId18"/>
    <p:sldLayoutId id="2147484527" r:id="rId19"/>
    <p:sldLayoutId id="2147484528" r:id="rId20"/>
    <p:sldLayoutId id="2147484529" r:id="rId21"/>
    <p:sldLayoutId id="2147484530" r:id="rId22"/>
    <p:sldLayoutId id="2147484531" r:id="rId23"/>
    <p:sldLayoutId id="2147484532" r:id="rId24"/>
    <p:sldLayoutId id="2147484533" r:id="rId25"/>
    <p:sldLayoutId id="2147484534" r:id="rId26"/>
    <p:sldLayoutId id="2147484535" r:id="rId27"/>
    <p:sldLayoutId id="2147484536" r:id="rId28"/>
    <p:sldLayoutId id="2147484537" r:id="rId29"/>
    <p:sldLayoutId id="2147484538" r:id="rId30"/>
    <p:sldLayoutId id="2147484539" r:id="rId31"/>
    <p:sldLayoutId id="2147484540" r:id="rId32"/>
    <p:sldLayoutId id="2147484541" r:id="rId33"/>
    <p:sldLayoutId id="2147484542" r:id="rId34"/>
    <p:sldLayoutId id="2147484543" r:id="rId35"/>
    <p:sldLayoutId id="2147484544" r:id="rId36"/>
    <p:sldLayoutId id="2147484545" r:id="rId37"/>
    <p:sldLayoutId id="2147484546" r:id="rId38"/>
    <p:sldLayoutId id="2147484547" r:id="rId39"/>
    <p:sldLayoutId id="2147484548" r:id="rId40"/>
    <p:sldLayoutId id="2147484549" r:id="rId41"/>
    <p:sldLayoutId id="2147484550" r:id="rId42"/>
    <p:sldLayoutId id="2147484551" r:id="rId43"/>
    <p:sldLayoutId id="2147484552" r:id="rId44"/>
    <p:sldLayoutId id="2147484553" r:id="rId45"/>
    <p:sldLayoutId id="2147484554" r:id="rId46"/>
    <p:sldLayoutId id="2147484555" r:id="rId47"/>
    <p:sldLayoutId id="2147484556" r:id="rId48"/>
    <p:sldLayoutId id="2147484557" r:id="rId49"/>
    <p:sldLayoutId id="2147484558" r:id="rId50"/>
    <p:sldLayoutId id="2147484559" r:id="rId51"/>
    <p:sldLayoutId id="2147484560" r:id="rId52"/>
    <p:sldLayoutId id="2147484561" r:id="rId53"/>
    <p:sldLayoutId id="2147484562" r:id="rId54"/>
    <p:sldLayoutId id="2147484563" r:id="rId55"/>
    <p:sldLayoutId id="2147484564" r:id="rId56"/>
    <p:sldLayoutId id="2147484565" r:id="rId57"/>
    <p:sldLayoutId id="2147484566" r:id="rId58"/>
    <p:sldLayoutId id="2147484567" r:id="rId59"/>
    <p:sldLayoutId id="2147484568" r:id="rId60"/>
    <p:sldLayoutId id="2147484569" r:id="rId61"/>
    <p:sldLayoutId id="2147484570" r:id="rId62"/>
    <p:sldLayoutId id="2147484571" r:id="rId63"/>
    <p:sldLayoutId id="2147484572" r:id="rId64"/>
    <p:sldLayoutId id="2147484573" r:id="rId65"/>
    <p:sldLayoutId id="2147484574" r:id="rId66"/>
    <p:sldLayoutId id="2147484575" r:id="rId67"/>
    <p:sldLayoutId id="2147484576" r:id="rId68"/>
    <p:sldLayoutId id="2147484577" r:id="rId69"/>
    <p:sldLayoutId id="2147484578" r:id="rId70"/>
    <p:sldLayoutId id="2147484579" r:id="rId71"/>
    <p:sldLayoutId id="2147484580" r:id="rId72"/>
  </p:sldLayoutIdLst>
  <p:txStyles>
    <p:titleStyle>
      <a:lvl1pPr marL="0" indent="0" algn="l" defTabSz="457189" rtl="0" eaLnBrk="1" latinLnBrk="0" hangingPunct="1">
        <a:spcBef>
          <a:spcPct val="0"/>
        </a:spcBef>
        <a:spcAft>
          <a:spcPts val="0"/>
        </a:spcAft>
        <a:buFont typeface="Arial" pitchFamily="34" charset="0"/>
        <a:buNone/>
        <a:defRPr lang="fr-FR" sz="2400" b="1" kern="1200" baseline="0" smtClean="0">
          <a:solidFill>
            <a:schemeClr val="bg1"/>
          </a:solidFill>
          <a:latin typeface="+mj-lt"/>
          <a:ea typeface="+mn-ea"/>
          <a:cs typeface="+mn-cs"/>
        </a:defRPr>
      </a:lvl1pPr>
    </p:titleStyle>
    <p:bodyStyle>
      <a:lvl1pPr marL="0" indent="0" algn="l" defTabSz="457189" rtl="0" eaLnBrk="1" latinLnBrk="0" hangingPunct="1">
        <a:lnSpc>
          <a:spcPct val="130000"/>
        </a:lnSpc>
        <a:spcBef>
          <a:spcPts val="0"/>
        </a:spcBef>
        <a:spcAft>
          <a:spcPts val="1200"/>
        </a:spcAft>
        <a:buClr>
          <a:schemeClr val="bg1"/>
        </a:buClr>
        <a:buSzPct val="25000"/>
        <a:buFont typeface="Verdana" pitchFamily="34" charset="0"/>
        <a:buNone/>
        <a:defRPr kumimoji="0" lang="en-US" sz="1200" b="0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Calibri"/>
          <a:ea typeface="+mn-ea"/>
          <a:cs typeface="Segoe UI" panose="020B0502040204020203" pitchFamily="34" charset="0"/>
        </a:defRPr>
      </a:lvl1pPr>
      <a:lvl2pPr marL="177796" indent="-177796" algn="l" defTabSz="457189" rtl="0" eaLnBrk="1" latinLnBrk="0" hangingPunct="1">
        <a:lnSpc>
          <a:spcPct val="130000"/>
        </a:lnSpc>
        <a:spcBef>
          <a:spcPts val="0"/>
        </a:spcBef>
        <a:spcAft>
          <a:spcPts val="300"/>
        </a:spcAft>
        <a:buClr>
          <a:schemeClr val="accent1"/>
        </a:buClr>
        <a:buFont typeface="Arial" pitchFamily="34" charset="0"/>
        <a:buChar char="•"/>
        <a:defRPr lang="en-US" sz="1200" b="0" kern="1200" noProof="0" dirty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2pPr>
      <a:lvl3pPr marL="361942" indent="-180970" algn="l" defTabSz="514338" rtl="0" eaLnBrk="1" latinLnBrk="0" hangingPunct="1">
        <a:lnSpc>
          <a:spcPct val="130000"/>
        </a:lnSpc>
        <a:spcBef>
          <a:spcPts val="0"/>
        </a:spcBef>
        <a:spcAft>
          <a:spcPts val="300"/>
        </a:spcAft>
        <a:buClr>
          <a:schemeClr val="bg1">
            <a:lumMod val="50000"/>
          </a:schemeClr>
        </a:buClr>
        <a:buSzPct val="50000"/>
        <a:buFont typeface="Montserrat" panose="020B0604020202020204" charset="0"/>
        <a:buChar char="►"/>
        <a:defRPr lang="en-US" sz="1200" b="0" kern="1200" noProof="0" dirty="0" smtClean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3pPr>
      <a:lvl4pPr marL="536561" indent="-161921" algn="l" defTabSz="457189" rtl="0" eaLnBrk="1" latinLnBrk="0" hangingPunct="1">
        <a:spcBef>
          <a:spcPts val="0"/>
        </a:spcBef>
        <a:spcAft>
          <a:spcPts val="300"/>
        </a:spcAft>
        <a:buClr>
          <a:schemeClr val="bg1">
            <a:lumMod val="50000"/>
          </a:schemeClr>
        </a:buClr>
        <a:buSzPct val="60000"/>
        <a:buFont typeface="Courier New" pitchFamily="49" charset="0"/>
        <a:buChar char="o"/>
        <a:tabLst/>
        <a:defRPr lang="en-US" sz="1200" b="0" kern="1200" noProof="0" dirty="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812780" indent="-165096" algn="l" defTabSz="457189" rtl="0" eaLnBrk="1" latinLnBrk="0" hangingPunct="1">
        <a:spcBef>
          <a:spcPts val="0"/>
        </a:spcBef>
        <a:buClr>
          <a:srgbClr val="D52B1E"/>
        </a:buClr>
        <a:buFont typeface="Calibri" pitchFamily="34" charset="0"/>
        <a:buChar char="-"/>
        <a:tabLst/>
        <a:defRPr lang="en-GB" sz="1100" kern="1200" noProof="0">
          <a:solidFill>
            <a:srgbClr val="4D4F53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1BD470C-A6E0-4F2F-A724-26CE288D4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64497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1BD470C-A6E0-4F2F-A724-26CE288D4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7AEE7B1-9615-47B3-B52E-737A84AD61A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C5A7EE-DCC9-44DE-810E-BF411CF38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431781"/>
            <a:ext cx="11523131" cy="553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5F8D77-E7D8-4C22-AB07-19DEAAF1FA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433" y="1375889"/>
            <a:ext cx="11523131" cy="14092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9" name="Picture 28" hidden="1">
            <a:extLst>
              <a:ext uri="{FF2B5EF4-FFF2-40B4-BE49-F238E27FC236}">
                <a16:creationId xmlns:a16="http://schemas.microsoft.com/office/drawing/2014/main" id="{36A6A6E5-032A-494B-B539-3B7ABB13ACAD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4589" y="-2251787"/>
            <a:ext cx="7555491" cy="910896"/>
          </a:xfrm>
          <a:prstGeom prst="rect">
            <a:avLst/>
          </a:prstGeom>
        </p:spPr>
      </p:pic>
      <p:pic>
        <p:nvPicPr>
          <p:cNvPr id="30" name="Picture 29" hidden="1">
            <a:extLst>
              <a:ext uri="{FF2B5EF4-FFF2-40B4-BE49-F238E27FC236}">
                <a16:creationId xmlns:a16="http://schemas.microsoft.com/office/drawing/2014/main" id="{1377DA45-4A8A-4904-B818-85B178FA0EC9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4589" y="-3254759"/>
            <a:ext cx="7555491" cy="910896"/>
          </a:xfrm>
          <a:prstGeom prst="rect">
            <a:avLst/>
          </a:prstGeom>
        </p:spPr>
      </p:pic>
      <p:grpSp>
        <p:nvGrpSpPr>
          <p:cNvPr id="75" name="Group 74" hidden="1">
            <a:extLst>
              <a:ext uri="{FF2B5EF4-FFF2-40B4-BE49-F238E27FC236}">
                <a16:creationId xmlns:a16="http://schemas.microsoft.com/office/drawing/2014/main" id="{02E693B4-A3A3-4B94-ADD9-E925136A9A71}"/>
              </a:ext>
            </a:extLst>
          </p:cNvPr>
          <p:cNvGrpSpPr/>
          <p:nvPr/>
        </p:nvGrpSpPr>
        <p:grpSpPr>
          <a:xfrm>
            <a:off x="0" y="-21134"/>
            <a:ext cx="12192000" cy="6864351"/>
            <a:chOff x="14728" y="0"/>
            <a:chExt cx="9144000" cy="6864351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0129EF20-AFCC-4C1A-8DC6-6F1940F6675D}"/>
                </a:ext>
              </a:extLst>
            </p:cNvPr>
            <p:cNvCxnSpPr/>
            <p:nvPr/>
          </p:nvCxnSpPr>
          <p:spPr>
            <a:xfrm>
              <a:off x="8930128" y="0"/>
              <a:ext cx="0" cy="6858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D3E4D007-17F5-43D9-A84D-E937C3D5B5A7}"/>
                </a:ext>
              </a:extLst>
            </p:cNvPr>
            <p:cNvCxnSpPr/>
            <p:nvPr/>
          </p:nvCxnSpPr>
          <p:spPr>
            <a:xfrm>
              <a:off x="336886" y="6351"/>
              <a:ext cx="0" cy="6858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2E579AF9-FEC4-48D2-979C-015CEDE377A1}"/>
                </a:ext>
              </a:extLst>
            </p:cNvPr>
            <p:cNvGrpSpPr/>
            <p:nvPr/>
          </p:nvGrpSpPr>
          <p:grpSpPr>
            <a:xfrm>
              <a:off x="4519755" y="463751"/>
              <a:ext cx="133946" cy="5940660"/>
              <a:chOff x="2439593" y="460786"/>
              <a:chExt cx="133946" cy="5929501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E81D7F3F-A8CF-4CD1-AB20-65596EAB9550}"/>
                  </a:ext>
                </a:extLst>
              </p:cNvPr>
              <p:cNvCxnSpPr/>
              <p:nvPr/>
            </p:nvCxnSpPr>
            <p:spPr>
              <a:xfrm>
                <a:off x="24395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A577C3C-06B7-4BEF-A99B-2B389880EAAC}"/>
                  </a:ext>
                </a:extLst>
              </p:cNvPr>
              <p:cNvCxnSpPr/>
              <p:nvPr/>
            </p:nvCxnSpPr>
            <p:spPr>
              <a:xfrm>
                <a:off x="2573539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F1AB7FCD-046F-4A40-81A1-FB4252D41419}"/>
                </a:ext>
              </a:extLst>
            </p:cNvPr>
            <p:cNvGrpSpPr/>
            <p:nvPr/>
          </p:nvGrpSpPr>
          <p:grpSpPr>
            <a:xfrm>
              <a:off x="6610808" y="463751"/>
              <a:ext cx="133947" cy="5940660"/>
              <a:chOff x="4510764" y="463727"/>
              <a:chExt cx="133947" cy="5926560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2AE3D933-81C2-4242-A6B4-D650859332B2}"/>
                  </a:ext>
                </a:extLst>
              </p:cNvPr>
              <p:cNvCxnSpPr/>
              <p:nvPr/>
            </p:nvCxnSpPr>
            <p:spPr>
              <a:xfrm>
                <a:off x="4510764" y="463727"/>
                <a:ext cx="0" cy="592656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ED3D94B3-6296-4B13-8791-DE795321DB56}"/>
                  </a:ext>
                </a:extLst>
              </p:cNvPr>
              <p:cNvCxnSpPr/>
              <p:nvPr/>
            </p:nvCxnSpPr>
            <p:spPr>
              <a:xfrm>
                <a:off x="4644711" y="463727"/>
                <a:ext cx="0" cy="592656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02E732A-3E48-48A2-AEE0-AAF6F66C4A84}"/>
                </a:ext>
              </a:extLst>
            </p:cNvPr>
            <p:cNvGrpSpPr/>
            <p:nvPr/>
          </p:nvGrpSpPr>
          <p:grpSpPr>
            <a:xfrm>
              <a:off x="471595" y="2356361"/>
              <a:ext cx="8458533" cy="131015"/>
              <a:chOff x="456867" y="1353825"/>
              <a:chExt cx="8458533" cy="131015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322596D-2BDA-44D5-84E4-5E70FD9F79F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6867" y="1353825"/>
                <a:ext cx="8458533" cy="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11AF9512-3F3B-4A72-AAE8-FD1B3D0352E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6867" y="1484839"/>
                <a:ext cx="8458533" cy="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292FFC0-58BC-4450-8035-327A3BAC4F75}"/>
                </a:ext>
              </a:extLst>
            </p:cNvPr>
            <p:cNvGrpSpPr/>
            <p:nvPr/>
          </p:nvGrpSpPr>
          <p:grpSpPr>
            <a:xfrm>
              <a:off x="472902" y="463751"/>
              <a:ext cx="2089746" cy="5940660"/>
              <a:chOff x="483793" y="460786"/>
              <a:chExt cx="2089746" cy="5929501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49434DD1-8B99-4D2F-8D1B-CE6ED9CC408A}"/>
                  </a:ext>
                </a:extLst>
              </p:cNvPr>
              <p:cNvCxnSpPr/>
              <p:nvPr/>
            </p:nvCxnSpPr>
            <p:spPr>
              <a:xfrm>
                <a:off x="24395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F8F3CD2-2411-414A-A512-25264956D0B9}"/>
                  </a:ext>
                </a:extLst>
              </p:cNvPr>
              <p:cNvCxnSpPr/>
              <p:nvPr/>
            </p:nvCxnSpPr>
            <p:spPr>
              <a:xfrm>
                <a:off x="2573539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0F4C622-444C-4922-8C66-36B8705B413F}"/>
                  </a:ext>
                </a:extLst>
              </p:cNvPr>
              <p:cNvCxnSpPr/>
              <p:nvPr/>
            </p:nvCxnSpPr>
            <p:spPr>
              <a:xfrm>
                <a:off x="4837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DFA405C9-5230-4100-949F-143A7E15D1F5}"/>
                  </a:ext>
                </a:extLst>
              </p:cNvPr>
              <p:cNvCxnSpPr/>
              <p:nvPr/>
            </p:nvCxnSpPr>
            <p:spPr>
              <a:xfrm>
                <a:off x="747856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0FF73647-8815-499D-8A2D-9F93884CB424}"/>
                </a:ext>
              </a:extLst>
            </p:cNvPr>
            <p:cNvCxnSpPr/>
            <p:nvPr/>
          </p:nvCxnSpPr>
          <p:spPr>
            <a:xfrm>
              <a:off x="14728" y="6404410"/>
              <a:ext cx="91440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1ECB140A-0653-41B0-AB0C-E684BC7DA81C}"/>
                </a:ext>
              </a:extLst>
            </p:cNvPr>
            <p:cNvCxnSpPr/>
            <p:nvPr/>
          </p:nvCxnSpPr>
          <p:spPr>
            <a:xfrm>
              <a:off x="14728" y="463350"/>
              <a:ext cx="91440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BB1146AB-BF27-40A5-8397-67494A9D3591}"/>
                </a:ext>
              </a:extLst>
            </p:cNvPr>
            <p:cNvGrpSpPr/>
            <p:nvPr/>
          </p:nvGrpSpPr>
          <p:grpSpPr>
            <a:xfrm>
              <a:off x="471595" y="4380386"/>
              <a:ext cx="8458533" cy="131015"/>
              <a:chOff x="456867" y="1353825"/>
              <a:chExt cx="8458533" cy="131015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19228E4C-62A0-453D-ABC2-171A3CEA08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6867" y="1353825"/>
                <a:ext cx="8458533" cy="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CF5D1947-040F-4893-BDAA-67544ADA70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6867" y="1484839"/>
                <a:ext cx="8458533" cy="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1" name="Group 30" hidden="1">
            <a:extLst>
              <a:ext uri="{FF2B5EF4-FFF2-40B4-BE49-F238E27FC236}">
                <a16:creationId xmlns:a16="http://schemas.microsoft.com/office/drawing/2014/main" id="{5A9DAA76-F85D-4B84-811E-690D59A17CFD}"/>
              </a:ext>
            </a:extLst>
          </p:cNvPr>
          <p:cNvGrpSpPr/>
          <p:nvPr userDrawn="1"/>
        </p:nvGrpSpPr>
        <p:grpSpPr>
          <a:xfrm>
            <a:off x="0" y="-21134"/>
            <a:ext cx="12192000" cy="6864351"/>
            <a:chOff x="14728" y="0"/>
            <a:chExt cx="9144000" cy="686435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B7098B39-29DF-43F9-8623-85DA09EC5B30}"/>
                </a:ext>
              </a:extLst>
            </p:cNvPr>
            <p:cNvCxnSpPr/>
            <p:nvPr/>
          </p:nvCxnSpPr>
          <p:spPr>
            <a:xfrm>
              <a:off x="8930128" y="0"/>
              <a:ext cx="0" cy="6858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9B0246B-25BB-45EB-AE26-4B3EEB8E2538}"/>
                </a:ext>
              </a:extLst>
            </p:cNvPr>
            <p:cNvCxnSpPr/>
            <p:nvPr/>
          </p:nvCxnSpPr>
          <p:spPr>
            <a:xfrm>
              <a:off x="336886" y="6351"/>
              <a:ext cx="0" cy="6858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5D699CA3-7850-4C11-82BF-25130CFD9551}"/>
                </a:ext>
              </a:extLst>
            </p:cNvPr>
            <p:cNvGrpSpPr/>
            <p:nvPr/>
          </p:nvGrpSpPr>
          <p:grpSpPr>
            <a:xfrm>
              <a:off x="4519755" y="463751"/>
              <a:ext cx="133946" cy="5940660"/>
              <a:chOff x="2439593" y="460786"/>
              <a:chExt cx="133946" cy="5929501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184332AC-86E1-4A29-94A1-0703B64208C7}"/>
                  </a:ext>
                </a:extLst>
              </p:cNvPr>
              <p:cNvCxnSpPr/>
              <p:nvPr/>
            </p:nvCxnSpPr>
            <p:spPr>
              <a:xfrm>
                <a:off x="24395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A4F1C61-5EAA-4FA1-95EF-426B2FA75151}"/>
                  </a:ext>
                </a:extLst>
              </p:cNvPr>
              <p:cNvCxnSpPr/>
              <p:nvPr/>
            </p:nvCxnSpPr>
            <p:spPr>
              <a:xfrm>
                <a:off x="2573539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92D0B6D9-0A08-4BCF-8B7F-24CDE88F210E}"/>
                </a:ext>
              </a:extLst>
            </p:cNvPr>
            <p:cNvGrpSpPr/>
            <p:nvPr/>
          </p:nvGrpSpPr>
          <p:grpSpPr>
            <a:xfrm>
              <a:off x="6610808" y="463751"/>
              <a:ext cx="133947" cy="5940660"/>
              <a:chOff x="4510764" y="463727"/>
              <a:chExt cx="133947" cy="5926560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398A21B3-B631-43D4-A732-E7A2982F342F}"/>
                  </a:ext>
                </a:extLst>
              </p:cNvPr>
              <p:cNvCxnSpPr/>
              <p:nvPr/>
            </p:nvCxnSpPr>
            <p:spPr>
              <a:xfrm>
                <a:off x="4510764" y="463727"/>
                <a:ext cx="0" cy="592656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B28445C-3A4E-4AE6-A34B-48D93144C628}"/>
                  </a:ext>
                </a:extLst>
              </p:cNvPr>
              <p:cNvCxnSpPr/>
              <p:nvPr/>
            </p:nvCxnSpPr>
            <p:spPr>
              <a:xfrm>
                <a:off x="4644711" y="463727"/>
                <a:ext cx="0" cy="592656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B4F7AEE-5173-4445-974D-45840B080C8E}"/>
                </a:ext>
              </a:extLst>
            </p:cNvPr>
            <p:cNvGrpSpPr/>
            <p:nvPr/>
          </p:nvGrpSpPr>
          <p:grpSpPr>
            <a:xfrm>
              <a:off x="471595" y="2356361"/>
              <a:ext cx="8458533" cy="131015"/>
              <a:chOff x="456867" y="1353825"/>
              <a:chExt cx="8458533" cy="131015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4E33959-69CB-4E22-847F-84EFCB277ED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6867" y="1353825"/>
                <a:ext cx="8458533" cy="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2DF8791D-5DBC-462A-AF2E-1298BFA9494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6867" y="1484839"/>
                <a:ext cx="8458533" cy="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737C8E5-CB57-44AE-93FA-4E75194AC772}"/>
                </a:ext>
              </a:extLst>
            </p:cNvPr>
            <p:cNvGrpSpPr/>
            <p:nvPr/>
          </p:nvGrpSpPr>
          <p:grpSpPr>
            <a:xfrm>
              <a:off x="472902" y="463751"/>
              <a:ext cx="2089746" cy="5940660"/>
              <a:chOff x="483793" y="460786"/>
              <a:chExt cx="2089746" cy="5929501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AF13C4E-D668-4234-8B3E-9F9EA80D15CC}"/>
                  </a:ext>
                </a:extLst>
              </p:cNvPr>
              <p:cNvCxnSpPr/>
              <p:nvPr/>
            </p:nvCxnSpPr>
            <p:spPr>
              <a:xfrm>
                <a:off x="24395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6ECFC933-470F-42CC-AE96-6A05517CE67F}"/>
                  </a:ext>
                </a:extLst>
              </p:cNvPr>
              <p:cNvCxnSpPr/>
              <p:nvPr/>
            </p:nvCxnSpPr>
            <p:spPr>
              <a:xfrm>
                <a:off x="2573539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B94D10A-C15C-459F-A2B2-DDFE9477F63F}"/>
                  </a:ext>
                </a:extLst>
              </p:cNvPr>
              <p:cNvCxnSpPr/>
              <p:nvPr/>
            </p:nvCxnSpPr>
            <p:spPr>
              <a:xfrm>
                <a:off x="483793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16FFBD6-E080-4A57-8277-DF742723445E}"/>
                  </a:ext>
                </a:extLst>
              </p:cNvPr>
              <p:cNvCxnSpPr/>
              <p:nvPr/>
            </p:nvCxnSpPr>
            <p:spPr>
              <a:xfrm>
                <a:off x="747856" y="460786"/>
                <a:ext cx="0" cy="592950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05F81C3-3376-4DA4-9808-E5E6DADB14A4}"/>
                </a:ext>
              </a:extLst>
            </p:cNvPr>
            <p:cNvCxnSpPr/>
            <p:nvPr/>
          </p:nvCxnSpPr>
          <p:spPr>
            <a:xfrm>
              <a:off x="14728" y="6404410"/>
              <a:ext cx="91440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5386D7D0-5FB7-496D-9BF1-2FC21521B328}"/>
                </a:ext>
              </a:extLst>
            </p:cNvPr>
            <p:cNvCxnSpPr/>
            <p:nvPr/>
          </p:nvCxnSpPr>
          <p:spPr>
            <a:xfrm>
              <a:off x="14728" y="463350"/>
              <a:ext cx="91440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796D0CC-BEBD-4A39-A246-261626AB88EE}"/>
                </a:ext>
              </a:extLst>
            </p:cNvPr>
            <p:cNvGrpSpPr/>
            <p:nvPr/>
          </p:nvGrpSpPr>
          <p:grpSpPr>
            <a:xfrm>
              <a:off x="471595" y="4380386"/>
              <a:ext cx="8458533" cy="131015"/>
              <a:chOff x="456867" y="1353825"/>
              <a:chExt cx="8458533" cy="131015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04E5171-01B1-47BB-A918-289BA71CFE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6867" y="1353825"/>
                <a:ext cx="8458533" cy="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78AFF0E6-FA6A-4595-AF2E-59C495E6904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6867" y="1484839"/>
                <a:ext cx="8458533" cy="1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BE6E9AEE-93E1-478D-B8A4-989F8A871F98}"/>
              </a:ext>
            </a:extLst>
          </p:cNvPr>
          <p:cNvSpPr txBox="1">
            <a:spLocks/>
          </p:cNvSpPr>
          <p:nvPr userDrawn="1"/>
        </p:nvSpPr>
        <p:spPr>
          <a:xfrm>
            <a:off x="5740183" y="6441674"/>
            <a:ext cx="733196" cy="281591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933" noProof="0" smtClean="0">
                <a:solidFill>
                  <a:schemeClr val="bg1"/>
                </a:solidFill>
              </a:rPr>
              <a:pPr algn="ctr"/>
              <a:t>‹Nr.›</a:t>
            </a:fld>
            <a:endParaRPr lang="en-US" sz="933" noProof="0">
              <a:solidFill>
                <a:schemeClr val="bg1"/>
              </a:solidFill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54DE979B-FDAB-4551-9E24-63AEE464C375}"/>
              </a:ext>
            </a:extLst>
          </p:cNvPr>
          <p:cNvSpPr txBox="1">
            <a:spLocks/>
          </p:cNvSpPr>
          <p:nvPr userDrawn="1"/>
        </p:nvSpPr>
        <p:spPr>
          <a:xfrm>
            <a:off x="623888" y="6393427"/>
            <a:ext cx="3958387" cy="336147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/>
            <a:r>
              <a:rPr lang="fr-FR" sz="900">
                <a:solidFill>
                  <a:schemeClr val="tx1"/>
                </a:solidFill>
                <a:latin typeface="Calibri"/>
              </a:rPr>
              <a:t>©2023 BearingPoint </a:t>
            </a:r>
          </a:p>
        </p:txBody>
      </p:sp>
    </p:spTree>
    <p:extLst>
      <p:ext uri="{BB962C8B-B14F-4D97-AF65-F5344CB8AC3E}">
        <p14:creationId xmlns:p14="http://schemas.microsoft.com/office/powerpoint/2010/main" val="148258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2" r:id="rId1"/>
    <p:sldLayoutId id="2147484583" r:id="rId2"/>
    <p:sldLayoutId id="2147484584" r:id="rId3"/>
    <p:sldLayoutId id="2147484585" r:id="rId4"/>
    <p:sldLayoutId id="2147484586" r:id="rId5"/>
    <p:sldLayoutId id="2147484587" r:id="rId6"/>
    <p:sldLayoutId id="2147484588" r:id="rId7"/>
    <p:sldLayoutId id="2147484589" r:id="rId8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66693" indent="-266693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0839" indent="-184146" algn="l" defTabSz="914377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6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microsoft.com/office/2007/relationships/hdphoto" Target="../media/hdphoto12.wdp"/><Relationship Id="rId18" Type="http://schemas.openxmlformats.org/officeDocument/2006/relationships/image" Target="../media/image112.png"/><Relationship Id="rId3" Type="http://schemas.openxmlformats.org/officeDocument/2006/relationships/tags" Target="../tags/tag24.xml"/><Relationship Id="rId21" Type="http://schemas.openxmlformats.org/officeDocument/2006/relationships/image" Target="../media/image115.svg"/><Relationship Id="rId7" Type="http://schemas.microsoft.com/office/2007/relationships/hdphoto" Target="../media/hdphoto9.wdp"/><Relationship Id="rId12" Type="http://schemas.openxmlformats.org/officeDocument/2006/relationships/image" Target="../media/image104.png"/><Relationship Id="rId17" Type="http://schemas.microsoft.com/office/2007/relationships/hdphoto" Target="../media/hdphoto14.wdp"/><Relationship Id="rId2" Type="http://schemas.openxmlformats.org/officeDocument/2006/relationships/tags" Target="../tags/tag23.xml"/><Relationship Id="rId16" Type="http://schemas.openxmlformats.org/officeDocument/2006/relationships/image" Target="../media/image106.png"/><Relationship Id="rId20" Type="http://schemas.openxmlformats.org/officeDocument/2006/relationships/image" Target="../media/image114.png"/><Relationship Id="rId1" Type="http://schemas.openxmlformats.org/officeDocument/2006/relationships/tags" Target="../tags/tag22.xml"/><Relationship Id="rId6" Type="http://schemas.openxmlformats.org/officeDocument/2006/relationships/image" Target="../media/image101.png"/><Relationship Id="rId11" Type="http://schemas.microsoft.com/office/2007/relationships/hdphoto" Target="../media/hdphoto11.wdp"/><Relationship Id="rId5" Type="http://schemas.openxmlformats.org/officeDocument/2006/relationships/slideLayout" Target="../slideLayouts/slideLayout56.xml"/><Relationship Id="rId15" Type="http://schemas.microsoft.com/office/2007/relationships/hdphoto" Target="../media/hdphoto13.wdp"/><Relationship Id="rId10" Type="http://schemas.openxmlformats.org/officeDocument/2006/relationships/image" Target="../media/image103.png"/><Relationship Id="rId19" Type="http://schemas.openxmlformats.org/officeDocument/2006/relationships/image" Target="../media/image113.png"/><Relationship Id="rId4" Type="http://schemas.openxmlformats.org/officeDocument/2006/relationships/tags" Target="../tags/tag25.xml"/><Relationship Id="rId9" Type="http://schemas.microsoft.com/office/2007/relationships/hdphoto" Target="../media/hdphoto10.wdp"/><Relationship Id="rId14" Type="http://schemas.openxmlformats.org/officeDocument/2006/relationships/image" Target="../media/image105.png"/><Relationship Id="rId22" Type="http://schemas.openxmlformats.org/officeDocument/2006/relationships/image" Target="../media/image11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svg"/><Relationship Id="rId13" Type="http://schemas.openxmlformats.org/officeDocument/2006/relationships/image" Target="../media/image102.png"/><Relationship Id="rId18" Type="http://schemas.microsoft.com/office/2007/relationships/hdphoto" Target="../media/hdphoto12.wdp"/><Relationship Id="rId3" Type="http://schemas.openxmlformats.org/officeDocument/2006/relationships/tags" Target="../tags/tag28.xml"/><Relationship Id="rId21" Type="http://schemas.openxmlformats.org/officeDocument/2006/relationships/image" Target="../media/image106.png"/><Relationship Id="rId7" Type="http://schemas.openxmlformats.org/officeDocument/2006/relationships/image" Target="../media/image116.png"/><Relationship Id="rId12" Type="http://schemas.microsoft.com/office/2007/relationships/hdphoto" Target="../media/hdphoto9.wdp"/><Relationship Id="rId17" Type="http://schemas.openxmlformats.org/officeDocument/2006/relationships/image" Target="../media/image104.png"/><Relationship Id="rId2" Type="http://schemas.openxmlformats.org/officeDocument/2006/relationships/tags" Target="../tags/tag27.xml"/><Relationship Id="rId16" Type="http://schemas.microsoft.com/office/2007/relationships/hdphoto" Target="../media/hdphoto11.wdp"/><Relationship Id="rId20" Type="http://schemas.microsoft.com/office/2007/relationships/hdphoto" Target="../media/hdphoto13.wdp"/><Relationship Id="rId1" Type="http://schemas.openxmlformats.org/officeDocument/2006/relationships/tags" Target="../tags/tag26.xml"/><Relationship Id="rId6" Type="http://schemas.openxmlformats.org/officeDocument/2006/relationships/image" Target="../media/image113.png"/><Relationship Id="rId11" Type="http://schemas.openxmlformats.org/officeDocument/2006/relationships/image" Target="../media/image101.png"/><Relationship Id="rId5" Type="http://schemas.openxmlformats.org/officeDocument/2006/relationships/image" Target="../media/image112.png"/><Relationship Id="rId15" Type="http://schemas.openxmlformats.org/officeDocument/2006/relationships/image" Target="../media/image103.png"/><Relationship Id="rId10" Type="http://schemas.openxmlformats.org/officeDocument/2006/relationships/image" Target="../media/image118.png"/><Relationship Id="rId19" Type="http://schemas.openxmlformats.org/officeDocument/2006/relationships/image" Target="../media/image105.png"/><Relationship Id="rId4" Type="http://schemas.openxmlformats.org/officeDocument/2006/relationships/slideLayout" Target="../slideLayouts/slideLayout56.xml"/><Relationship Id="rId9" Type="http://schemas.openxmlformats.org/officeDocument/2006/relationships/image" Target="../media/image111.png"/><Relationship Id="rId14" Type="http://schemas.microsoft.com/office/2007/relationships/hdphoto" Target="../media/hdphoto10.wdp"/><Relationship Id="rId22" Type="http://schemas.microsoft.com/office/2007/relationships/hdphoto" Target="../media/hdphoto14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notesSlide" Target="../notesSlides/notesSlide4.xml"/><Relationship Id="rId18" Type="http://schemas.microsoft.com/office/2007/relationships/hdphoto" Target="../media/hdphoto15.wdp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slideLayout" Target="../slideLayouts/slideLayout56.xml"/><Relationship Id="rId17" Type="http://schemas.openxmlformats.org/officeDocument/2006/relationships/image" Target="../media/image122.png"/><Relationship Id="rId2" Type="http://schemas.openxmlformats.org/officeDocument/2006/relationships/tags" Target="../tags/tag30.xml"/><Relationship Id="rId16" Type="http://schemas.openxmlformats.org/officeDocument/2006/relationships/image" Target="../media/image121.png"/><Relationship Id="rId20" Type="http://schemas.openxmlformats.org/officeDocument/2006/relationships/image" Target="../media/image124.sv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image" Target="../media/image120.svg"/><Relationship Id="rId10" Type="http://schemas.openxmlformats.org/officeDocument/2006/relationships/tags" Target="../tags/tag38.xml"/><Relationship Id="rId19" Type="http://schemas.openxmlformats.org/officeDocument/2006/relationships/image" Target="../media/image123.png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image" Target="../media/image11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image" Target="../media/image125.png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00.png"/><Relationship Id="rId2" Type="http://schemas.openxmlformats.org/officeDocument/2006/relationships/tags" Target="../tags/tag41.xml"/><Relationship Id="rId16" Type="http://schemas.openxmlformats.org/officeDocument/2006/relationships/slideLayout" Target="../slideLayouts/slideLayout56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10" Type="http://schemas.openxmlformats.org/officeDocument/2006/relationships/tags" Target="../tags/tag49.xml"/><Relationship Id="rId19" Type="http://schemas.openxmlformats.org/officeDocument/2006/relationships/image" Target="../media/image126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tags" Target="../tags/tag80.xml"/><Relationship Id="rId3" Type="http://schemas.openxmlformats.org/officeDocument/2006/relationships/tags" Target="../tags/tag57.xml"/><Relationship Id="rId21" Type="http://schemas.openxmlformats.org/officeDocument/2006/relationships/tags" Target="../tags/tag75.xml"/><Relationship Id="rId34" Type="http://schemas.openxmlformats.org/officeDocument/2006/relationships/image" Target="../media/image125.png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tags" Target="../tags/tag79.xml"/><Relationship Id="rId33" Type="http://schemas.openxmlformats.org/officeDocument/2006/relationships/slideLayout" Target="../slideLayouts/slideLayout56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29" Type="http://schemas.openxmlformats.org/officeDocument/2006/relationships/tags" Target="../tags/tag83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32" Type="http://schemas.openxmlformats.org/officeDocument/2006/relationships/tags" Target="../tags/tag86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tags" Target="../tags/tag82.xml"/><Relationship Id="rId36" Type="http://schemas.openxmlformats.org/officeDocument/2006/relationships/image" Target="../media/image100.png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31" Type="http://schemas.openxmlformats.org/officeDocument/2006/relationships/tags" Target="../tags/tag85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tags" Target="../tags/tag81.xml"/><Relationship Id="rId30" Type="http://schemas.openxmlformats.org/officeDocument/2006/relationships/tags" Target="../tags/tag84.xml"/><Relationship Id="rId35" Type="http://schemas.openxmlformats.org/officeDocument/2006/relationships/image" Target="../media/image126.png"/><Relationship Id="rId8" Type="http://schemas.openxmlformats.org/officeDocument/2006/relationships/tags" Target="../tags/tag6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5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1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5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jpeg"/><Relationship Id="rId1" Type="http://schemas.openxmlformats.org/officeDocument/2006/relationships/slideLayout" Target="../slideLayouts/slideLayout5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20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8.png"/><Relationship Id="rId18" Type="http://schemas.openxmlformats.org/officeDocument/2006/relationships/image" Target="../media/image83.png"/><Relationship Id="rId26" Type="http://schemas.openxmlformats.org/officeDocument/2006/relationships/image" Target="../media/image91.png"/><Relationship Id="rId3" Type="http://schemas.openxmlformats.org/officeDocument/2006/relationships/image" Target="../media/image68.png"/><Relationship Id="rId21" Type="http://schemas.openxmlformats.org/officeDocument/2006/relationships/image" Target="../media/image86.png"/><Relationship Id="rId7" Type="http://schemas.openxmlformats.org/officeDocument/2006/relationships/image" Target="../media/image72.png"/><Relationship Id="rId12" Type="http://schemas.openxmlformats.org/officeDocument/2006/relationships/image" Target="../media/image77.jpeg"/><Relationship Id="rId17" Type="http://schemas.openxmlformats.org/officeDocument/2006/relationships/image" Target="../media/image82.png"/><Relationship Id="rId25" Type="http://schemas.openxmlformats.org/officeDocument/2006/relationships/image" Target="../media/image90.png"/><Relationship Id="rId2" Type="http://schemas.openxmlformats.org/officeDocument/2006/relationships/image" Target="../media/image67.png"/><Relationship Id="rId16" Type="http://schemas.openxmlformats.org/officeDocument/2006/relationships/image" Target="../media/image81.png"/><Relationship Id="rId20" Type="http://schemas.openxmlformats.org/officeDocument/2006/relationships/image" Target="../media/image85.png"/><Relationship Id="rId29" Type="http://schemas.openxmlformats.org/officeDocument/2006/relationships/image" Target="../media/image94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71.png"/><Relationship Id="rId11" Type="http://schemas.openxmlformats.org/officeDocument/2006/relationships/image" Target="../media/image76.png"/><Relationship Id="rId24" Type="http://schemas.openxmlformats.org/officeDocument/2006/relationships/image" Target="../media/image89.png"/><Relationship Id="rId5" Type="http://schemas.openxmlformats.org/officeDocument/2006/relationships/image" Target="../media/image70.png"/><Relationship Id="rId15" Type="http://schemas.openxmlformats.org/officeDocument/2006/relationships/image" Target="../media/image80.png"/><Relationship Id="rId23" Type="http://schemas.openxmlformats.org/officeDocument/2006/relationships/image" Target="../media/image88.png"/><Relationship Id="rId28" Type="http://schemas.openxmlformats.org/officeDocument/2006/relationships/image" Target="../media/image93.jpeg"/><Relationship Id="rId10" Type="http://schemas.openxmlformats.org/officeDocument/2006/relationships/image" Target="../media/image75.png"/><Relationship Id="rId19" Type="http://schemas.openxmlformats.org/officeDocument/2006/relationships/image" Target="../media/image84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Relationship Id="rId14" Type="http://schemas.openxmlformats.org/officeDocument/2006/relationships/image" Target="../media/image79.png"/><Relationship Id="rId22" Type="http://schemas.openxmlformats.org/officeDocument/2006/relationships/image" Target="../media/image87.png"/><Relationship Id="rId27" Type="http://schemas.openxmlformats.org/officeDocument/2006/relationships/image" Target="../media/image9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13" Type="http://schemas.openxmlformats.org/officeDocument/2006/relationships/image" Target="../media/image101.png"/><Relationship Id="rId18" Type="http://schemas.microsoft.com/office/2007/relationships/hdphoto" Target="../media/hdphoto11.wdp"/><Relationship Id="rId26" Type="http://schemas.openxmlformats.org/officeDocument/2006/relationships/image" Target="../media/image108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105.png"/><Relationship Id="rId7" Type="http://schemas.openxmlformats.org/officeDocument/2006/relationships/image" Target="../media/image98.png"/><Relationship Id="rId12" Type="http://schemas.openxmlformats.org/officeDocument/2006/relationships/image" Target="../media/image77.jpeg"/><Relationship Id="rId17" Type="http://schemas.openxmlformats.org/officeDocument/2006/relationships/image" Target="../media/image103.png"/><Relationship Id="rId25" Type="http://schemas.openxmlformats.org/officeDocument/2006/relationships/image" Target="../media/image107.png"/><Relationship Id="rId2" Type="http://schemas.openxmlformats.org/officeDocument/2006/relationships/slideLayout" Target="../slideLayouts/slideLayout56.xml"/><Relationship Id="rId16" Type="http://schemas.microsoft.com/office/2007/relationships/hdphoto" Target="../media/hdphoto10.wdp"/><Relationship Id="rId20" Type="http://schemas.microsoft.com/office/2007/relationships/hdphoto" Target="../media/hdphoto12.wdp"/><Relationship Id="rId1" Type="http://schemas.openxmlformats.org/officeDocument/2006/relationships/tags" Target="../tags/tag18.xml"/><Relationship Id="rId6" Type="http://schemas.openxmlformats.org/officeDocument/2006/relationships/image" Target="../media/image97.png"/><Relationship Id="rId11" Type="http://schemas.openxmlformats.org/officeDocument/2006/relationships/image" Target="../media/image71.png"/><Relationship Id="rId24" Type="http://schemas.microsoft.com/office/2007/relationships/hdphoto" Target="../media/hdphoto14.wdp"/><Relationship Id="rId5" Type="http://schemas.openxmlformats.org/officeDocument/2006/relationships/image" Target="../media/image96.png"/><Relationship Id="rId15" Type="http://schemas.openxmlformats.org/officeDocument/2006/relationships/image" Target="../media/image102.png"/><Relationship Id="rId23" Type="http://schemas.openxmlformats.org/officeDocument/2006/relationships/image" Target="../media/image106.png"/><Relationship Id="rId28" Type="http://schemas.openxmlformats.org/officeDocument/2006/relationships/image" Target="../media/image110.jpeg"/><Relationship Id="rId10" Type="http://schemas.openxmlformats.org/officeDocument/2006/relationships/image" Target="../media/image100.png"/><Relationship Id="rId19" Type="http://schemas.openxmlformats.org/officeDocument/2006/relationships/image" Target="../media/image104.png"/><Relationship Id="rId4" Type="http://schemas.openxmlformats.org/officeDocument/2006/relationships/image" Target="../media/image95.png"/><Relationship Id="rId9" Type="http://schemas.openxmlformats.org/officeDocument/2006/relationships/image" Target="../media/image78.png"/><Relationship Id="rId14" Type="http://schemas.microsoft.com/office/2007/relationships/hdphoto" Target="../media/hdphoto9.wdp"/><Relationship Id="rId22" Type="http://schemas.microsoft.com/office/2007/relationships/hdphoto" Target="../media/hdphoto13.wdp"/><Relationship Id="rId27" Type="http://schemas.openxmlformats.org/officeDocument/2006/relationships/image" Target="../media/image109.jpe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13" Type="http://schemas.openxmlformats.org/officeDocument/2006/relationships/image" Target="../media/image105.png"/><Relationship Id="rId3" Type="http://schemas.openxmlformats.org/officeDocument/2006/relationships/tags" Target="../tags/tag21.xml"/><Relationship Id="rId7" Type="http://schemas.openxmlformats.org/officeDocument/2006/relationships/image" Target="../media/image102.png"/><Relationship Id="rId12" Type="http://schemas.microsoft.com/office/2007/relationships/hdphoto" Target="../media/hdphoto12.wdp"/><Relationship Id="rId17" Type="http://schemas.openxmlformats.org/officeDocument/2006/relationships/image" Target="../media/image111.png"/><Relationship Id="rId2" Type="http://schemas.openxmlformats.org/officeDocument/2006/relationships/tags" Target="../tags/tag20.xml"/><Relationship Id="rId16" Type="http://schemas.microsoft.com/office/2007/relationships/hdphoto" Target="../media/hdphoto14.wdp"/><Relationship Id="rId1" Type="http://schemas.openxmlformats.org/officeDocument/2006/relationships/tags" Target="../tags/tag19.xml"/><Relationship Id="rId6" Type="http://schemas.microsoft.com/office/2007/relationships/hdphoto" Target="../media/hdphoto9.wdp"/><Relationship Id="rId11" Type="http://schemas.openxmlformats.org/officeDocument/2006/relationships/image" Target="../media/image104.png"/><Relationship Id="rId5" Type="http://schemas.openxmlformats.org/officeDocument/2006/relationships/image" Target="../media/image101.png"/><Relationship Id="rId15" Type="http://schemas.openxmlformats.org/officeDocument/2006/relationships/image" Target="../media/image106.png"/><Relationship Id="rId10" Type="http://schemas.microsoft.com/office/2007/relationships/hdphoto" Target="../media/hdphoto11.wdp"/><Relationship Id="rId4" Type="http://schemas.openxmlformats.org/officeDocument/2006/relationships/slideLayout" Target="../slideLayouts/slideLayout56.xml"/><Relationship Id="rId9" Type="http://schemas.openxmlformats.org/officeDocument/2006/relationships/image" Target="../media/image103.png"/><Relationship Id="rId14" Type="http://schemas.microsoft.com/office/2007/relationships/hdphoto" Target="../media/hdphoto1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C2D48AE-F689-FB7B-FDBE-0A653D8431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873145" y="315370"/>
            <a:ext cx="1919288" cy="917507"/>
          </a:xfrm>
        </p:spPr>
        <p:txBody>
          <a:bodyPr/>
          <a:lstStyle/>
          <a:p>
            <a:pPr algn="ctr"/>
            <a:r>
              <a:rPr lang="de-DE"/>
              <a:t>Rebecca Hamm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A094526-8DA8-98DC-0966-EF38C88F55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7" y="2123413"/>
            <a:ext cx="9196387" cy="1457186"/>
          </a:xfrm>
        </p:spPr>
        <p:txBody>
          <a:bodyPr/>
          <a:lstStyle/>
          <a:p>
            <a:r>
              <a:rPr lang="de-DE" err="1"/>
              <a:t>From</a:t>
            </a:r>
            <a:r>
              <a:rPr lang="de-DE"/>
              <a:t> Hype to Reality 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38B05D1-C8B0-28E8-454B-0634D98A3F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Real AI Wins in Procurement that create true Business Value</a:t>
            </a:r>
          </a:p>
        </p:txBody>
      </p:sp>
      <p:sp>
        <p:nvSpPr>
          <p:cNvPr id="10" name="Rechtwinkliges Dreieck 9">
            <a:extLst>
              <a:ext uri="{FF2B5EF4-FFF2-40B4-BE49-F238E27FC236}">
                <a16:creationId xmlns:a16="http://schemas.microsoft.com/office/drawing/2014/main" id="{8DF8B25B-800A-29F4-39DC-26CAD50CDC65}"/>
              </a:ext>
            </a:extLst>
          </p:cNvPr>
          <p:cNvSpPr/>
          <p:nvPr/>
        </p:nvSpPr>
        <p:spPr>
          <a:xfrm rot="5400000">
            <a:off x="1421824" y="-1426151"/>
            <a:ext cx="1556902" cy="4400550"/>
          </a:xfrm>
          <a:prstGeom prst="rtTriangl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6" name="Gleichschenkliges Dreieck 21">
            <a:extLst>
              <a:ext uri="{FF2B5EF4-FFF2-40B4-BE49-F238E27FC236}">
                <a16:creationId xmlns:a16="http://schemas.microsoft.com/office/drawing/2014/main" id="{073747FC-74D6-86FF-9240-D01E5B5C8474}"/>
              </a:ext>
            </a:extLst>
          </p:cNvPr>
          <p:cNvSpPr/>
          <p:nvPr/>
        </p:nvSpPr>
        <p:spPr>
          <a:xfrm rot="9642326">
            <a:off x="-89608" y="766293"/>
            <a:ext cx="4718357" cy="317329"/>
          </a:xfrm>
          <a:prstGeom prst="triangle">
            <a:avLst>
              <a:gd name="adj" fmla="val 97724"/>
            </a:avLst>
          </a:prstGeom>
          <a:solidFill>
            <a:schemeClr val="bg1">
              <a:lumMod val="7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4E58B7E-4A00-6595-72A7-073C9247222F}"/>
              </a:ext>
            </a:extLst>
          </p:cNvPr>
          <p:cNvSpPr txBox="1"/>
          <p:nvPr/>
        </p:nvSpPr>
        <p:spPr>
          <a:xfrm>
            <a:off x="1310702" y="250904"/>
            <a:ext cx="9959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>
                <a:solidFill>
                  <a:srgbClr val="072E40"/>
                </a:solidFill>
              </a:rPr>
              <a:t>2025</a:t>
            </a:r>
          </a:p>
          <a:p>
            <a:r>
              <a:rPr lang="de-DE" sz="1400" b="1">
                <a:solidFill>
                  <a:srgbClr val="072E40"/>
                </a:solidFill>
              </a:rPr>
              <a:t>HAMBURG</a:t>
            </a:r>
          </a:p>
        </p:txBody>
      </p:sp>
      <p:pic>
        <p:nvPicPr>
          <p:cNvPr id="1030" name="Picture 6" descr="Procurement Summit Hamburg 2025 - Das Event für den Einkauf | Expao">
            <a:extLst>
              <a:ext uri="{FF2B5EF4-FFF2-40B4-BE49-F238E27FC236}">
                <a16:creationId xmlns:a16="http://schemas.microsoft.com/office/drawing/2014/main" id="{DFB9BD7F-8AF8-9702-E049-A77C0EB06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0585" y="-144964"/>
            <a:ext cx="1872142" cy="1321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8A8A0D9B-0971-94BE-E3CB-5FDD9E67B8F9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/>
          <a:srcRect l="16667" r="16667"/>
          <a:stretch/>
        </p:blipFill>
        <p:spPr bwMode="auto">
          <a:xfrm>
            <a:off x="10164587" y="774124"/>
            <a:ext cx="1336404" cy="1326173"/>
          </a:xfrm>
          <a:prstGeom prst="ellipse">
            <a:avLst/>
          </a:prstGeom>
          <a:ln w="31750" cap="rnd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3EFF9F4-6DF5-1F95-7029-B1BCFA8520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3641" y="2254426"/>
            <a:ext cx="2278297" cy="1326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007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970DFE-F09F-C485-1DAA-4D622F677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320483E-1CBB-A9DE-B09B-838611E650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Selected </a:t>
            </a:r>
            <a:r>
              <a:rPr lang="de-DE" err="1"/>
              <a:t>use</a:t>
            </a:r>
            <a:r>
              <a:rPr lang="de-DE"/>
              <a:t> Cases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selected</a:t>
            </a:r>
            <a:r>
              <a:rPr lang="de-DE"/>
              <a:t> </a:t>
            </a:r>
            <a:r>
              <a:rPr lang="de-DE" err="1"/>
              <a:t>clients</a:t>
            </a:r>
            <a:endParaRPr lang="de-DE"/>
          </a:p>
        </p:txBody>
      </p:sp>
      <p:sp>
        <p:nvSpPr>
          <p:cNvPr id="41" name="Rectangle 49">
            <a:extLst>
              <a:ext uri="{FF2B5EF4-FFF2-40B4-BE49-F238E27FC236}">
                <a16:creationId xmlns:a16="http://schemas.microsoft.com/office/drawing/2014/main" id="{C2663B15-E82B-8486-CA4B-C497A0ED863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" y="1428751"/>
            <a:ext cx="12192000" cy="5104798"/>
          </a:xfrm>
          <a:prstGeom prst="rect">
            <a:avLst/>
          </a:prstGeom>
          <a:solidFill>
            <a:schemeClr val="accent5">
              <a:lumMod val="20000"/>
              <a:lumOff val="80000"/>
              <a:alpha val="34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</a:pPr>
            <a:endParaRPr lang="en-DE" sz="1600" err="1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A31AFA37-FB15-3ECA-581A-A326CB4A850E}"/>
              </a:ext>
            </a:extLst>
          </p:cNvPr>
          <p:cNvSpPr/>
          <p:nvPr/>
        </p:nvSpPr>
        <p:spPr>
          <a:xfrm>
            <a:off x="7940482" y="2852739"/>
            <a:ext cx="1409099" cy="151606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100">
                <a:solidFill>
                  <a:schemeClr val="accent1"/>
                </a:solidFill>
                <a:latin typeface="+mj-lt"/>
              </a:rPr>
              <a:t>DQN</a:t>
            </a:r>
          </a:p>
        </p:txBody>
      </p:sp>
      <p:graphicFrame>
        <p:nvGraphicFramePr>
          <p:cNvPr id="43" name="Tabelle 42">
            <a:extLst>
              <a:ext uri="{FF2B5EF4-FFF2-40B4-BE49-F238E27FC236}">
                <a16:creationId xmlns:a16="http://schemas.microsoft.com/office/drawing/2014/main" id="{A5B9DB43-B59D-DE38-8B53-2BAF55010F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489802"/>
              </p:ext>
            </p:extLst>
          </p:nvPr>
        </p:nvGraphicFramePr>
        <p:xfrm>
          <a:off x="8007953" y="3194546"/>
          <a:ext cx="1274160" cy="8382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940675A-B579-460E-94D1-54222C63F5DA}</a:tableStyleId>
              </a:tblPr>
              <a:tblGrid>
                <a:gridCol w="545497">
                  <a:extLst>
                    <a:ext uri="{9D8B030D-6E8A-4147-A177-3AD203B41FA5}">
                      <a16:colId xmlns:a16="http://schemas.microsoft.com/office/drawing/2014/main" val="493839538"/>
                    </a:ext>
                  </a:extLst>
                </a:gridCol>
                <a:gridCol w="728663">
                  <a:extLst>
                    <a:ext uri="{9D8B030D-6E8A-4147-A177-3AD203B41FA5}">
                      <a16:colId xmlns:a16="http://schemas.microsoft.com/office/drawing/2014/main" val="39561035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sz="700" b="1">
                          <a:solidFill>
                            <a:schemeClr val="bg1"/>
                          </a:solidFill>
                        </a:rPr>
                        <a:t>Supplier</a:t>
                      </a:r>
                      <a:endParaRPr lang="de-DE" sz="9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1" err="1">
                          <a:solidFill>
                            <a:schemeClr val="bg1"/>
                          </a:solidFill>
                        </a:rPr>
                        <a:t>Certification</a:t>
                      </a:r>
                      <a:endParaRPr lang="de-DE" sz="9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15437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70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8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5895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70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8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09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70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8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8191774"/>
                  </a:ext>
                </a:extLst>
              </a:tr>
            </a:tbl>
          </a:graphicData>
        </a:graphic>
      </p:graphicFrame>
      <p:sp>
        <p:nvSpPr>
          <p:cNvPr id="44" name="Rechteck 43">
            <a:extLst>
              <a:ext uri="{FF2B5EF4-FFF2-40B4-BE49-F238E27FC236}">
                <a16:creationId xmlns:a16="http://schemas.microsoft.com/office/drawing/2014/main" id="{5B43CFA4-6AF9-53F1-21AC-0C9DA13E2580}"/>
              </a:ext>
            </a:extLst>
          </p:cNvPr>
          <p:cNvSpPr/>
          <p:nvPr/>
        </p:nvSpPr>
        <p:spPr>
          <a:xfrm>
            <a:off x="10157401" y="2852739"/>
            <a:ext cx="1409099" cy="151606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100">
                <a:solidFill>
                  <a:schemeClr val="accent1"/>
                </a:solidFill>
                <a:latin typeface="+mj-lt"/>
              </a:rPr>
              <a:t>ERP</a:t>
            </a: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55F44C39-C5E9-CB9E-229E-93FCF6AD054F}"/>
              </a:ext>
            </a:extLst>
          </p:cNvPr>
          <p:cNvGrpSpPr/>
          <p:nvPr/>
        </p:nvGrpSpPr>
        <p:grpSpPr>
          <a:xfrm>
            <a:off x="998439" y="2476220"/>
            <a:ext cx="2651782" cy="2806075"/>
            <a:chOff x="6880789" y="1046028"/>
            <a:chExt cx="4270720" cy="4971133"/>
          </a:xfrm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C7C36610-BBEF-26C8-10BD-956C12FBD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082690" y="1431160"/>
              <a:ext cx="2312267" cy="327530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F0702126-B480-8D05-E392-BC8BDEF80FB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417943" y="1486741"/>
              <a:ext cx="1733566" cy="247914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98E09515-8F98-F854-B3F4-BA7F79C0F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967554" y="3019807"/>
              <a:ext cx="1902885" cy="262202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847E22CF-07CC-54C7-1AC9-3817AE4DD1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880789" y="2369893"/>
              <a:ext cx="2263382" cy="316775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7B11E0C8-6E45-C94D-0402-0675C3DDE5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034666" y="1046028"/>
              <a:ext cx="1882684" cy="273110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F626061F-6A84-DE6B-50B6-0FE7186CAB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531623" y="2028858"/>
              <a:ext cx="1565955" cy="224041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2" name="Grafik 51">
              <a:extLst>
                <a:ext uri="{FF2B5EF4-FFF2-40B4-BE49-F238E27FC236}">
                  <a16:creationId xmlns:a16="http://schemas.microsoft.com/office/drawing/2014/main" id="{238060DF-A794-BF1A-CE2E-A5F7535A3A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230127" y="2741856"/>
              <a:ext cx="2312267" cy="327530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53" name="Picture 2">
            <a:extLst>
              <a:ext uri="{FF2B5EF4-FFF2-40B4-BE49-F238E27FC236}">
                <a16:creationId xmlns:a16="http://schemas.microsoft.com/office/drawing/2014/main" id="{78069F84-2095-6B84-DC1F-BE01F699A0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9935" y="2908553"/>
            <a:ext cx="394505" cy="195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4">
            <a:extLst>
              <a:ext uri="{FF2B5EF4-FFF2-40B4-BE49-F238E27FC236}">
                <a16:creationId xmlns:a16="http://schemas.microsoft.com/office/drawing/2014/main" id="{58F907D9-F469-AC01-75F5-94D0CE3D4E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85" b="29390"/>
          <a:stretch/>
        </p:blipFill>
        <p:spPr bwMode="auto">
          <a:xfrm>
            <a:off x="10988757" y="2947081"/>
            <a:ext cx="369104" cy="101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Pfeil: nach oben und unten 54">
            <a:extLst>
              <a:ext uri="{FF2B5EF4-FFF2-40B4-BE49-F238E27FC236}">
                <a16:creationId xmlns:a16="http://schemas.microsoft.com/office/drawing/2014/main" id="{03F0B2D3-53F8-8EB7-5AE7-4723DB75F7E4}"/>
              </a:ext>
            </a:extLst>
          </p:cNvPr>
          <p:cNvSpPr/>
          <p:nvPr/>
        </p:nvSpPr>
        <p:spPr>
          <a:xfrm rot="16200000">
            <a:off x="9700699" y="3298221"/>
            <a:ext cx="105584" cy="419141"/>
          </a:xfrm>
          <a:prstGeom prst="up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6" name="Tabelle 55">
            <a:extLst>
              <a:ext uri="{FF2B5EF4-FFF2-40B4-BE49-F238E27FC236}">
                <a16:creationId xmlns:a16="http://schemas.microsoft.com/office/drawing/2014/main" id="{F2B789CF-D11B-08ED-E028-1A122239D2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1799551"/>
              </p:ext>
            </p:extLst>
          </p:nvPr>
        </p:nvGraphicFramePr>
        <p:xfrm>
          <a:off x="10224530" y="3198483"/>
          <a:ext cx="1274160" cy="8382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940675A-B579-460E-94D1-54222C63F5DA}</a:tableStyleId>
              </a:tblPr>
              <a:tblGrid>
                <a:gridCol w="545497">
                  <a:extLst>
                    <a:ext uri="{9D8B030D-6E8A-4147-A177-3AD203B41FA5}">
                      <a16:colId xmlns:a16="http://schemas.microsoft.com/office/drawing/2014/main" val="493839538"/>
                    </a:ext>
                  </a:extLst>
                </a:gridCol>
                <a:gridCol w="728663">
                  <a:extLst>
                    <a:ext uri="{9D8B030D-6E8A-4147-A177-3AD203B41FA5}">
                      <a16:colId xmlns:a16="http://schemas.microsoft.com/office/drawing/2014/main" val="39561035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sz="700" b="1">
                          <a:solidFill>
                            <a:schemeClr val="bg1"/>
                          </a:solidFill>
                        </a:rPr>
                        <a:t>Supplier</a:t>
                      </a:r>
                      <a:endParaRPr lang="de-DE" sz="9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1" err="1">
                          <a:solidFill>
                            <a:schemeClr val="bg1"/>
                          </a:solidFill>
                        </a:rPr>
                        <a:t>Certification</a:t>
                      </a:r>
                      <a:endParaRPr lang="de-DE" sz="9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15437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70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</a:rPr>
                        <a:t>#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8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5895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70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</a:rPr>
                        <a:t>#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8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09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70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</a:rPr>
                        <a:t>#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8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8191774"/>
                  </a:ext>
                </a:extLst>
              </a:tr>
            </a:tbl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81DBC119-5EAB-9DC1-D740-A60D44E771F0}"/>
              </a:ext>
            </a:extLst>
          </p:cNvPr>
          <p:cNvSpPr/>
          <p:nvPr/>
        </p:nvSpPr>
        <p:spPr>
          <a:xfrm>
            <a:off x="10952405" y="3450316"/>
            <a:ext cx="432000" cy="10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600" b="1"/>
              <a:t>ISO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E4FDBF1A-86C3-F51A-B5C9-C458DC7A8054}"/>
              </a:ext>
            </a:extLst>
          </p:cNvPr>
          <p:cNvSpPr/>
          <p:nvPr/>
        </p:nvSpPr>
        <p:spPr>
          <a:xfrm>
            <a:off x="10952405" y="3883389"/>
            <a:ext cx="432000" cy="10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600" b="1"/>
              <a:t>N/A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074528B-B271-C986-D4D4-EA7B607CF9ED}"/>
              </a:ext>
            </a:extLst>
          </p:cNvPr>
          <p:cNvSpPr/>
          <p:nvPr/>
        </p:nvSpPr>
        <p:spPr>
          <a:xfrm>
            <a:off x="10952405" y="3663330"/>
            <a:ext cx="432000" cy="10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600" b="1"/>
              <a:t>ISO</a:t>
            </a:r>
          </a:p>
        </p:txBody>
      </p:sp>
      <p:sp>
        <p:nvSpPr>
          <p:cNvPr id="60" name="Pfeil: nach oben und unten 59">
            <a:extLst>
              <a:ext uri="{FF2B5EF4-FFF2-40B4-BE49-F238E27FC236}">
                <a16:creationId xmlns:a16="http://schemas.microsoft.com/office/drawing/2014/main" id="{8BD41909-C1EE-8CB7-C7B6-EB0BA6F849FE}"/>
              </a:ext>
            </a:extLst>
          </p:cNvPr>
          <p:cNvSpPr/>
          <p:nvPr/>
        </p:nvSpPr>
        <p:spPr>
          <a:xfrm rot="16200000">
            <a:off x="9700699" y="3514341"/>
            <a:ext cx="105584" cy="419141"/>
          </a:xfrm>
          <a:prstGeom prst="up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Pfeil: nach oben und unten 60">
            <a:extLst>
              <a:ext uri="{FF2B5EF4-FFF2-40B4-BE49-F238E27FC236}">
                <a16:creationId xmlns:a16="http://schemas.microsoft.com/office/drawing/2014/main" id="{F5B33B3D-7E68-BCE1-14CF-0BCD0402D870}"/>
              </a:ext>
            </a:extLst>
          </p:cNvPr>
          <p:cNvSpPr/>
          <p:nvPr/>
        </p:nvSpPr>
        <p:spPr>
          <a:xfrm rot="16200000">
            <a:off x="9700699" y="3727057"/>
            <a:ext cx="105584" cy="419141"/>
          </a:xfrm>
          <a:prstGeom prst="up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Grafik 61" descr="Kopf mit Zahnrädern mit einfarbiger Füllung">
            <a:extLst>
              <a:ext uri="{FF2B5EF4-FFF2-40B4-BE49-F238E27FC236}">
                <a16:creationId xmlns:a16="http://schemas.microsoft.com/office/drawing/2014/main" id="{03ECAD74-A7FB-C855-25DF-92CD04C8D0D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661593" y="3270149"/>
            <a:ext cx="199000" cy="199000"/>
          </a:xfrm>
          <a:prstGeom prst="rect">
            <a:avLst/>
          </a:prstGeom>
        </p:spPr>
      </p:pic>
      <p:pic>
        <p:nvPicPr>
          <p:cNvPr id="63" name="Picture 18">
            <a:extLst>
              <a:ext uri="{FF2B5EF4-FFF2-40B4-BE49-F238E27FC236}">
                <a16:creationId xmlns:a16="http://schemas.microsoft.com/office/drawing/2014/main" id="{2C96EC2F-0A7E-6E6D-5692-9570D1938379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 r="71810"/>
          <a:stretch/>
        </p:blipFill>
        <p:spPr>
          <a:xfrm>
            <a:off x="8536478" y="2883090"/>
            <a:ext cx="217105" cy="330439"/>
          </a:xfrm>
          <a:prstGeom prst="rect">
            <a:avLst/>
          </a:prstGeom>
        </p:spPr>
      </p:pic>
      <p:sp>
        <p:nvSpPr>
          <p:cNvPr id="6144" name="Ellipse 6143">
            <a:extLst>
              <a:ext uri="{FF2B5EF4-FFF2-40B4-BE49-F238E27FC236}">
                <a16:creationId xmlns:a16="http://schemas.microsoft.com/office/drawing/2014/main" id="{3C7C15B9-E27E-ABF1-45FB-2DDA8A91C72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795191" y="1754944"/>
            <a:ext cx="491769" cy="490909"/>
          </a:xfrm>
          <a:prstGeom prst="ellipse">
            <a:avLst/>
          </a:prstGeom>
          <a:noFill/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6145" name="Textfeld 6144">
            <a:extLst>
              <a:ext uri="{FF2B5EF4-FFF2-40B4-BE49-F238E27FC236}">
                <a16:creationId xmlns:a16="http://schemas.microsoft.com/office/drawing/2014/main" id="{807EB2E7-4134-398C-FCA9-F8BA5E6347C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648393" y="2271954"/>
            <a:ext cx="2898389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>
                <a:solidFill>
                  <a:schemeClr val="accent6"/>
                </a:solidFill>
                <a:latin typeface="+mj-lt"/>
              </a:rPr>
              <a:t>AI-Data-Agent</a:t>
            </a:r>
          </a:p>
          <a:p>
            <a:pPr algn="ctr"/>
            <a:r>
              <a:rPr lang="en-US" sz="1600">
                <a:solidFill>
                  <a:schemeClr val="accent6"/>
                </a:solidFill>
                <a:latin typeface="+mj-lt"/>
              </a:rPr>
              <a:t>(Supplier Certifications)</a:t>
            </a:r>
          </a:p>
        </p:txBody>
      </p:sp>
      <p:sp>
        <p:nvSpPr>
          <p:cNvPr id="6208" name="Pfeil: Fünfeck 6207">
            <a:extLst>
              <a:ext uri="{FF2B5EF4-FFF2-40B4-BE49-F238E27FC236}">
                <a16:creationId xmlns:a16="http://schemas.microsoft.com/office/drawing/2014/main" id="{9D337425-4EC4-22C9-78B4-6C3153637625}"/>
              </a:ext>
            </a:extLst>
          </p:cNvPr>
          <p:cNvSpPr/>
          <p:nvPr/>
        </p:nvSpPr>
        <p:spPr>
          <a:xfrm rot="5400000">
            <a:off x="5878674" y="1646230"/>
            <a:ext cx="477556" cy="2898389"/>
          </a:xfrm>
          <a:prstGeom prst="homePlate">
            <a:avLst>
              <a:gd name="adj" fmla="val 27429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1.) Crawling of documents w/ OCR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209" name="Pfeil: Chevron 6208">
            <a:extLst>
              <a:ext uri="{FF2B5EF4-FFF2-40B4-BE49-F238E27FC236}">
                <a16:creationId xmlns:a16="http://schemas.microsoft.com/office/drawing/2014/main" id="{6DCB2F2F-0799-D65D-FC77-C77253602852}"/>
              </a:ext>
            </a:extLst>
          </p:cNvPr>
          <p:cNvSpPr/>
          <p:nvPr/>
        </p:nvSpPr>
        <p:spPr>
          <a:xfrm rot="5400000">
            <a:off x="5887276" y="1970413"/>
            <a:ext cx="460350" cy="2898388"/>
          </a:xfrm>
          <a:prstGeom prst="chevron">
            <a:avLst>
              <a:gd name="adj" fmla="val 26827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2.) AI-based document understanding</a:t>
            </a:r>
          </a:p>
        </p:txBody>
      </p:sp>
      <p:sp>
        <p:nvSpPr>
          <p:cNvPr id="6210" name="Pfeil: Chevron 6209">
            <a:extLst>
              <a:ext uri="{FF2B5EF4-FFF2-40B4-BE49-F238E27FC236}">
                <a16:creationId xmlns:a16="http://schemas.microsoft.com/office/drawing/2014/main" id="{AE7D724D-E5D6-C58E-72DA-4A7132AD579B}"/>
              </a:ext>
            </a:extLst>
          </p:cNvPr>
          <p:cNvSpPr/>
          <p:nvPr/>
        </p:nvSpPr>
        <p:spPr>
          <a:xfrm rot="5400000">
            <a:off x="5887276" y="2294718"/>
            <a:ext cx="460350" cy="2898388"/>
          </a:xfrm>
          <a:prstGeom prst="chevron">
            <a:avLst>
              <a:gd name="adj" fmla="val 26827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3.) AI-based data structuring</a:t>
            </a:r>
          </a:p>
        </p:txBody>
      </p:sp>
      <p:sp>
        <p:nvSpPr>
          <p:cNvPr id="6211" name="Pfeil: Chevron 6210">
            <a:extLst>
              <a:ext uri="{FF2B5EF4-FFF2-40B4-BE49-F238E27FC236}">
                <a16:creationId xmlns:a16="http://schemas.microsoft.com/office/drawing/2014/main" id="{071B34A0-AC2A-404C-EA69-DBAD77D26F78}"/>
              </a:ext>
            </a:extLst>
          </p:cNvPr>
          <p:cNvSpPr/>
          <p:nvPr/>
        </p:nvSpPr>
        <p:spPr>
          <a:xfrm rot="5400000">
            <a:off x="5887276" y="2621201"/>
            <a:ext cx="460350" cy="2898388"/>
          </a:xfrm>
          <a:prstGeom prst="chevron">
            <a:avLst>
              <a:gd name="adj" fmla="val 2682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4.) AI-Matching &amp; comparison w/ ERP</a:t>
            </a:r>
          </a:p>
        </p:txBody>
      </p:sp>
      <p:pic>
        <p:nvPicPr>
          <p:cNvPr id="6212" name="Picture 18">
            <a:extLst>
              <a:ext uri="{FF2B5EF4-FFF2-40B4-BE49-F238E27FC236}">
                <a16:creationId xmlns:a16="http://schemas.microsoft.com/office/drawing/2014/main" id="{60FF1226-1875-30E6-6E02-6ADEAABFC493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 r="71810"/>
          <a:stretch/>
        </p:blipFill>
        <p:spPr>
          <a:xfrm>
            <a:off x="5918017" y="1806013"/>
            <a:ext cx="262698" cy="399831"/>
          </a:xfrm>
          <a:prstGeom prst="rect">
            <a:avLst/>
          </a:prstGeom>
        </p:spPr>
      </p:pic>
      <p:cxnSp>
        <p:nvCxnSpPr>
          <p:cNvPr id="6213" name="Verbinder: gewinkelt 6212">
            <a:extLst>
              <a:ext uri="{FF2B5EF4-FFF2-40B4-BE49-F238E27FC236}">
                <a16:creationId xmlns:a16="http://schemas.microsoft.com/office/drawing/2014/main" id="{AF0209B4-57AD-D65C-000B-3E5BE43DA85E}"/>
              </a:ext>
            </a:extLst>
          </p:cNvPr>
          <p:cNvCxnSpPr>
            <a:cxnSpLocks/>
          </p:cNvCxnSpPr>
          <p:nvPr/>
        </p:nvCxnSpPr>
        <p:spPr>
          <a:xfrm rot="10800000" flipV="1">
            <a:off x="3380941" y="2000398"/>
            <a:ext cx="2414250" cy="2962245"/>
          </a:xfrm>
          <a:prstGeom prst="bentConnector3">
            <a:avLst>
              <a:gd name="adj1" fmla="val 57891"/>
            </a:avLst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4" name="Verbinder: gewinkelt 6213">
            <a:extLst>
              <a:ext uri="{FF2B5EF4-FFF2-40B4-BE49-F238E27FC236}">
                <a16:creationId xmlns:a16="http://schemas.microsoft.com/office/drawing/2014/main" id="{6115E93F-A166-1282-497F-68CD47F52B9F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45241" y="2000398"/>
            <a:ext cx="4049950" cy="3102043"/>
          </a:xfrm>
          <a:prstGeom prst="bentConnector3">
            <a:avLst>
              <a:gd name="adj1" fmla="val 31498"/>
            </a:avLst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5" name="Verbinder: gewinkelt 6214">
            <a:extLst>
              <a:ext uri="{FF2B5EF4-FFF2-40B4-BE49-F238E27FC236}">
                <a16:creationId xmlns:a16="http://schemas.microsoft.com/office/drawing/2014/main" id="{7E0D79F2-A84E-C893-1060-EE58470CEEB2}"/>
              </a:ext>
            </a:extLst>
          </p:cNvPr>
          <p:cNvCxnSpPr>
            <a:cxnSpLocks/>
          </p:cNvCxnSpPr>
          <p:nvPr/>
        </p:nvCxnSpPr>
        <p:spPr>
          <a:xfrm rot="10800000" flipV="1">
            <a:off x="3624475" y="2000399"/>
            <a:ext cx="2170717" cy="1103280"/>
          </a:xfrm>
          <a:prstGeom prst="bentConnector3">
            <a:avLst>
              <a:gd name="adj1" fmla="val 90662"/>
            </a:avLst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16" name="Rechteck 6215">
            <a:extLst>
              <a:ext uri="{FF2B5EF4-FFF2-40B4-BE49-F238E27FC236}">
                <a16:creationId xmlns:a16="http://schemas.microsoft.com/office/drawing/2014/main" id="{0264414D-5E66-4C01-2391-D3C99FA4C818}"/>
              </a:ext>
            </a:extLst>
          </p:cNvPr>
          <p:cNvSpPr/>
          <p:nvPr/>
        </p:nvSpPr>
        <p:spPr>
          <a:xfrm>
            <a:off x="3192474" y="3049679"/>
            <a:ext cx="432000" cy="10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600" b="1"/>
              <a:t>ISO</a:t>
            </a:r>
          </a:p>
        </p:txBody>
      </p:sp>
      <p:sp>
        <p:nvSpPr>
          <p:cNvPr id="6217" name="Rechteck 6216">
            <a:extLst>
              <a:ext uri="{FF2B5EF4-FFF2-40B4-BE49-F238E27FC236}">
                <a16:creationId xmlns:a16="http://schemas.microsoft.com/office/drawing/2014/main" id="{A526A31C-903E-84EC-89D0-B2C6D30A11FD}"/>
              </a:ext>
            </a:extLst>
          </p:cNvPr>
          <p:cNvSpPr/>
          <p:nvPr/>
        </p:nvSpPr>
        <p:spPr>
          <a:xfrm>
            <a:off x="1313241" y="5048442"/>
            <a:ext cx="432000" cy="10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600" b="1"/>
              <a:t>ECOVADIS</a:t>
            </a:r>
          </a:p>
        </p:txBody>
      </p:sp>
      <p:sp>
        <p:nvSpPr>
          <p:cNvPr id="6218" name="Rechteck 6217">
            <a:extLst>
              <a:ext uri="{FF2B5EF4-FFF2-40B4-BE49-F238E27FC236}">
                <a16:creationId xmlns:a16="http://schemas.microsoft.com/office/drawing/2014/main" id="{17C9B543-0B73-93A4-3785-8C6654C0737D}"/>
              </a:ext>
            </a:extLst>
          </p:cNvPr>
          <p:cNvSpPr/>
          <p:nvPr/>
        </p:nvSpPr>
        <p:spPr>
          <a:xfrm>
            <a:off x="2948941" y="4908644"/>
            <a:ext cx="432000" cy="10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600" b="1"/>
              <a:t>REACH</a:t>
            </a:r>
          </a:p>
        </p:txBody>
      </p:sp>
      <p:sp>
        <p:nvSpPr>
          <p:cNvPr id="6219" name="Textfeld 6218">
            <a:extLst>
              <a:ext uri="{FF2B5EF4-FFF2-40B4-BE49-F238E27FC236}">
                <a16:creationId xmlns:a16="http://schemas.microsoft.com/office/drawing/2014/main" id="{870CC286-EBA8-49A3-A5B0-59D38189CE6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1365" y="5337653"/>
            <a:ext cx="2634899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2000" b="1">
                <a:solidFill>
                  <a:schemeClr val="accent6"/>
                </a:solidFill>
                <a:latin typeface="+mj-lt"/>
              </a:rPr>
              <a:t>Unstructured data in invoices</a:t>
            </a:r>
          </a:p>
        </p:txBody>
      </p:sp>
      <p:sp>
        <p:nvSpPr>
          <p:cNvPr id="6220" name="Ellipse 6219">
            <a:extLst>
              <a:ext uri="{FF2B5EF4-FFF2-40B4-BE49-F238E27FC236}">
                <a16:creationId xmlns:a16="http://schemas.microsoft.com/office/drawing/2014/main" id="{6FDD519C-6CD5-BA05-82E2-0AED7B38632B}"/>
              </a:ext>
            </a:extLst>
          </p:cNvPr>
          <p:cNvSpPr/>
          <p:nvPr/>
        </p:nvSpPr>
        <p:spPr>
          <a:xfrm>
            <a:off x="79769" y="249330"/>
            <a:ext cx="486968" cy="466437"/>
          </a:xfrm>
          <a:prstGeom prst="ellipse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6222" name="Titel 2">
            <a:extLst>
              <a:ext uri="{FF2B5EF4-FFF2-40B4-BE49-F238E27FC236}">
                <a16:creationId xmlns:a16="http://schemas.microsoft.com/office/drawing/2014/main" id="{E52ABB61-2062-E576-B963-3FDEFDA70CA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663112"/>
            <a:ext cx="10944225" cy="369334"/>
          </a:xfrm>
        </p:spPr>
        <p:txBody>
          <a:bodyPr>
            <a:normAutofit/>
          </a:bodyPr>
          <a:lstStyle/>
          <a:p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Use Case: CONTRACT READING &amp; -ANALY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6063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2031E-6 -3.7037E-6 L 0.60427 -0.1712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62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213" y="-856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17912E-6 -3.33333E-6 L 0.4711 -0.18171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62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549" y="-90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0924E-6 1.48148E-6 L 0.45119 0.05625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62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559" y="280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62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62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62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" presetClass="emph" presetSubtype="2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4" dur="2000" fill="hold"/>
                                        <p:tgtEl>
                                          <p:spTgt spid="621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FE976"/>
                                      </p:to>
                                    </p:animClr>
                                    <p:set>
                                      <p:cBhvr>
                                        <p:cTn id="35" dur="2000" fill="hold"/>
                                        <p:tgtEl>
                                          <p:spTgt spid="621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6" dur="2000" fill="hold"/>
                                        <p:tgtEl>
                                          <p:spTgt spid="621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8" dur="2000" fill="hold"/>
                                        <p:tgtEl>
                                          <p:spTgt spid="62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FE976"/>
                                      </p:to>
                                    </p:animClr>
                                    <p:set>
                                      <p:cBhvr>
                                        <p:cTn id="39" dur="2000" fill="hold"/>
                                        <p:tgtEl>
                                          <p:spTgt spid="62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2000" fill="hold"/>
                                        <p:tgtEl>
                                          <p:spTgt spid="62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2" dur="2000" fill="hold"/>
                                        <p:tgtEl>
                                          <p:spTgt spid="62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FE976"/>
                                      </p:to>
                                    </p:animClr>
                                    <p:set>
                                      <p:cBhvr>
                                        <p:cTn id="43" dur="2000" fill="hold"/>
                                        <p:tgtEl>
                                          <p:spTgt spid="62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2000" fill="hold"/>
                                        <p:tgtEl>
                                          <p:spTgt spid="621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6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44" grpId="0" animBg="1"/>
      <p:bldP spid="55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10" grpId="0" animBg="1"/>
      <p:bldP spid="6211" grpId="0" animBg="1"/>
      <p:bldP spid="6216" grpId="0" animBg="1"/>
      <p:bldP spid="6216" grpId="1" animBg="1"/>
      <p:bldP spid="6217" grpId="0" animBg="1"/>
      <p:bldP spid="6217" grpId="1" animBg="1"/>
      <p:bldP spid="6218" grpId="0" animBg="1"/>
      <p:bldP spid="6218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90F106-C92D-A69A-E26D-03DF503FF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0EFB651-2D2A-E642-D024-F2F361600E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Selected </a:t>
            </a:r>
            <a:r>
              <a:rPr lang="de-DE" err="1"/>
              <a:t>use</a:t>
            </a:r>
            <a:r>
              <a:rPr lang="de-DE"/>
              <a:t> Cases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selected</a:t>
            </a:r>
            <a:r>
              <a:rPr lang="de-DE"/>
              <a:t> </a:t>
            </a:r>
            <a:r>
              <a:rPr lang="de-DE" err="1"/>
              <a:t>clients</a:t>
            </a:r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3F36E2A-DA73-0967-297B-D78BBBFBD403}"/>
              </a:ext>
            </a:extLst>
          </p:cNvPr>
          <p:cNvSpPr/>
          <p:nvPr/>
        </p:nvSpPr>
        <p:spPr>
          <a:xfrm>
            <a:off x="7940482" y="2852739"/>
            <a:ext cx="1409099" cy="151606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100">
                <a:solidFill>
                  <a:schemeClr val="accent1"/>
                </a:solidFill>
                <a:latin typeface="+mj-lt"/>
              </a:rPr>
              <a:t>DQN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2D7BA38-9216-1202-DA8E-AB608F3C9F2C}"/>
              </a:ext>
            </a:extLst>
          </p:cNvPr>
          <p:cNvSpPr/>
          <p:nvPr/>
        </p:nvSpPr>
        <p:spPr>
          <a:xfrm>
            <a:off x="10157401" y="2852739"/>
            <a:ext cx="1409099" cy="151606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100">
                <a:solidFill>
                  <a:schemeClr val="accent1"/>
                </a:solidFill>
                <a:latin typeface="+mj-lt"/>
              </a:rPr>
              <a:t>ERP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30667316-4225-9A44-60DD-9B7FDA18DB0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795191" y="1754944"/>
            <a:ext cx="491769" cy="490909"/>
          </a:xfrm>
          <a:prstGeom prst="ellipse">
            <a:avLst/>
          </a:prstGeom>
          <a:noFill/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A53D67A-ECE0-E8F5-03E2-D1C49D954DD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648393" y="2271954"/>
            <a:ext cx="2898389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>
                <a:solidFill>
                  <a:schemeClr val="accent6"/>
                </a:solidFill>
                <a:latin typeface="+mj-lt"/>
              </a:rPr>
              <a:t>AI-Data-Agent</a:t>
            </a:r>
          </a:p>
          <a:p>
            <a:pPr algn="ctr"/>
            <a:r>
              <a:rPr lang="en-US" sz="1600">
                <a:solidFill>
                  <a:schemeClr val="accent6"/>
                </a:solidFill>
                <a:latin typeface="+mj-lt"/>
              </a:rPr>
              <a:t>(Supplier Certifications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4DF676D-BC9F-57A2-3426-ACA5CA9F803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1365" y="5337653"/>
            <a:ext cx="2634899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2000" b="1">
                <a:solidFill>
                  <a:schemeClr val="accent6"/>
                </a:solidFill>
                <a:latin typeface="+mj-lt"/>
              </a:rPr>
              <a:t>Unstructured data in invoices</a:t>
            </a:r>
          </a:p>
        </p:txBody>
      </p:sp>
      <p:sp>
        <p:nvSpPr>
          <p:cNvPr id="9" name="Pfeil: Fünfeck 8">
            <a:extLst>
              <a:ext uri="{FF2B5EF4-FFF2-40B4-BE49-F238E27FC236}">
                <a16:creationId xmlns:a16="http://schemas.microsoft.com/office/drawing/2014/main" id="{41B832AC-4EA8-3625-FE74-AD817AD986C8}"/>
              </a:ext>
            </a:extLst>
          </p:cNvPr>
          <p:cNvSpPr/>
          <p:nvPr/>
        </p:nvSpPr>
        <p:spPr>
          <a:xfrm rot="5400000">
            <a:off x="5878674" y="1646230"/>
            <a:ext cx="477556" cy="2898389"/>
          </a:xfrm>
          <a:prstGeom prst="homePlate">
            <a:avLst>
              <a:gd name="adj" fmla="val 27429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1.) Crawling of documents w/ OCR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0" name="Pfeil: Chevron 9">
            <a:extLst>
              <a:ext uri="{FF2B5EF4-FFF2-40B4-BE49-F238E27FC236}">
                <a16:creationId xmlns:a16="http://schemas.microsoft.com/office/drawing/2014/main" id="{E9B99799-E542-196D-7C16-A1449199FB97}"/>
              </a:ext>
            </a:extLst>
          </p:cNvPr>
          <p:cNvSpPr/>
          <p:nvPr/>
        </p:nvSpPr>
        <p:spPr>
          <a:xfrm rot="5400000">
            <a:off x="5887276" y="1970413"/>
            <a:ext cx="460350" cy="2898388"/>
          </a:xfrm>
          <a:prstGeom prst="chevron">
            <a:avLst>
              <a:gd name="adj" fmla="val 26827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2.) </a:t>
            </a:r>
            <a:r>
              <a:rPr lang="en-US" sz="1000" b="1">
                <a:solidFill>
                  <a:schemeClr val="bg1"/>
                </a:solidFill>
              </a:rPr>
              <a:t>AI-based document understanding</a:t>
            </a:r>
            <a:endParaRPr lang="en-US" sz="10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ED75132B-CE1A-67EB-9A0B-1B8197BF64D2}"/>
              </a:ext>
            </a:extLst>
          </p:cNvPr>
          <p:cNvSpPr/>
          <p:nvPr/>
        </p:nvSpPr>
        <p:spPr>
          <a:xfrm rot="5400000">
            <a:off x="5887276" y="2294718"/>
            <a:ext cx="460350" cy="2898388"/>
          </a:xfrm>
          <a:prstGeom prst="chevron">
            <a:avLst>
              <a:gd name="adj" fmla="val 26827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3.) </a:t>
            </a:r>
            <a:r>
              <a:rPr lang="en-US" sz="1000" b="1">
                <a:solidFill>
                  <a:schemeClr val="bg1"/>
                </a:solidFill>
              </a:rPr>
              <a:t>AI-based data structuring</a:t>
            </a:r>
            <a:endParaRPr lang="en-US" sz="10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864DADF2-3B1B-7139-5936-FF4F516610E0}"/>
              </a:ext>
            </a:extLst>
          </p:cNvPr>
          <p:cNvSpPr/>
          <p:nvPr/>
        </p:nvSpPr>
        <p:spPr>
          <a:xfrm rot="5400000">
            <a:off x="5887276" y="2621201"/>
            <a:ext cx="460350" cy="2898388"/>
          </a:xfrm>
          <a:prstGeom prst="chevron">
            <a:avLst>
              <a:gd name="adj" fmla="val 2682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4.) AI-Matching &amp; comparison w/ ERP</a:t>
            </a: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77996342-1794-8FDD-3EE5-0C9EDF6DCDBE}"/>
              </a:ext>
            </a:extLst>
          </p:cNvPr>
          <p:cNvSpPr/>
          <p:nvPr/>
        </p:nvSpPr>
        <p:spPr>
          <a:xfrm rot="5400000">
            <a:off x="5887276" y="2949842"/>
            <a:ext cx="460350" cy="2898388"/>
          </a:xfrm>
          <a:prstGeom prst="chevron">
            <a:avLst>
              <a:gd name="adj" fmla="val 26827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5.) AI-based identification of findings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88A15C8F-4E10-4EF3-A758-B3F83406AB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9935" y="2908553"/>
            <a:ext cx="394505" cy="195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2FAA684A-9AA7-FEAF-E447-4A693F8B9F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85" b="29390"/>
          <a:stretch/>
        </p:blipFill>
        <p:spPr bwMode="auto">
          <a:xfrm>
            <a:off x="10988757" y="2947081"/>
            <a:ext cx="369104" cy="101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Tabelle 15">
            <a:extLst>
              <a:ext uri="{FF2B5EF4-FFF2-40B4-BE49-F238E27FC236}">
                <a16:creationId xmlns:a16="http://schemas.microsoft.com/office/drawing/2014/main" id="{16508AFA-AE88-7C36-C827-961A560F1C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4007291"/>
              </p:ext>
            </p:extLst>
          </p:nvPr>
        </p:nvGraphicFramePr>
        <p:xfrm>
          <a:off x="10224530" y="3198483"/>
          <a:ext cx="1274160" cy="8382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940675A-B579-460E-94D1-54222C63F5DA}</a:tableStyleId>
              </a:tblPr>
              <a:tblGrid>
                <a:gridCol w="545497">
                  <a:extLst>
                    <a:ext uri="{9D8B030D-6E8A-4147-A177-3AD203B41FA5}">
                      <a16:colId xmlns:a16="http://schemas.microsoft.com/office/drawing/2014/main" val="493839538"/>
                    </a:ext>
                  </a:extLst>
                </a:gridCol>
                <a:gridCol w="728663">
                  <a:extLst>
                    <a:ext uri="{9D8B030D-6E8A-4147-A177-3AD203B41FA5}">
                      <a16:colId xmlns:a16="http://schemas.microsoft.com/office/drawing/2014/main" val="39561035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sz="700" b="1">
                          <a:solidFill>
                            <a:schemeClr val="bg1"/>
                          </a:solidFill>
                        </a:rPr>
                        <a:t>Supplier</a:t>
                      </a:r>
                      <a:endParaRPr lang="de-DE" sz="9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b="1" err="1">
                          <a:solidFill>
                            <a:schemeClr val="bg1"/>
                          </a:solidFill>
                        </a:rPr>
                        <a:t>Certification</a:t>
                      </a:r>
                      <a:endParaRPr lang="de-DE" sz="9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15437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70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</a:rPr>
                        <a:t>#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8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5895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70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</a:rPr>
                        <a:t>#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8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09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70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</a:rPr>
                        <a:t>#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8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8191774"/>
                  </a:ext>
                </a:extLst>
              </a:tr>
            </a:tbl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DF6426DE-C7E2-DA29-1535-E38580EFC407}"/>
              </a:ext>
            </a:extLst>
          </p:cNvPr>
          <p:cNvSpPr/>
          <p:nvPr/>
        </p:nvSpPr>
        <p:spPr>
          <a:xfrm>
            <a:off x="10952405" y="3450316"/>
            <a:ext cx="432000" cy="10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600" b="1"/>
              <a:t>ISO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D1F5126-DAAC-E26E-3B45-058A65AD041A}"/>
              </a:ext>
            </a:extLst>
          </p:cNvPr>
          <p:cNvSpPr/>
          <p:nvPr/>
        </p:nvSpPr>
        <p:spPr>
          <a:xfrm>
            <a:off x="10952405" y="3663330"/>
            <a:ext cx="166445" cy="10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600" b="1"/>
              <a:t>ISO</a:t>
            </a:r>
          </a:p>
        </p:txBody>
      </p:sp>
      <p:sp>
        <p:nvSpPr>
          <p:cNvPr id="19" name="Pfeil: Chevron 18">
            <a:extLst>
              <a:ext uri="{FF2B5EF4-FFF2-40B4-BE49-F238E27FC236}">
                <a16:creationId xmlns:a16="http://schemas.microsoft.com/office/drawing/2014/main" id="{605D2981-69B9-A716-80AC-047219F7A644}"/>
              </a:ext>
            </a:extLst>
          </p:cNvPr>
          <p:cNvSpPr/>
          <p:nvPr/>
        </p:nvSpPr>
        <p:spPr>
          <a:xfrm rot="5400000">
            <a:off x="5887276" y="3273157"/>
            <a:ext cx="460350" cy="2898388"/>
          </a:xfrm>
          <a:prstGeom prst="chevron">
            <a:avLst>
              <a:gd name="adj" fmla="val 26827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6.) </a:t>
            </a:r>
            <a:r>
              <a:rPr lang="en-US" sz="1000" b="1">
                <a:solidFill>
                  <a:schemeClr val="bg1"/>
                </a:solidFill>
              </a:rPr>
              <a:t>Alerting &amp; reporting</a:t>
            </a:r>
            <a:endParaRPr lang="en-US" sz="10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EBA1FBE4-4AA9-046D-DF5E-5330942E9076}"/>
              </a:ext>
            </a:extLst>
          </p:cNvPr>
          <p:cNvSpPr/>
          <p:nvPr/>
        </p:nvSpPr>
        <p:spPr>
          <a:xfrm rot="5400000">
            <a:off x="5887276" y="3600943"/>
            <a:ext cx="460350" cy="2898388"/>
          </a:xfrm>
          <a:prstGeom prst="chevron">
            <a:avLst>
              <a:gd name="adj" fmla="val 2682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7.) Data provis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989D92D-D1DA-ED21-BF8A-11D9CF2E97CC}"/>
              </a:ext>
            </a:extLst>
          </p:cNvPr>
          <p:cNvSpPr/>
          <p:nvPr/>
        </p:nvSpPr>
        <p:spPr>
          <a:xfrm>
            <a:off x="8065294" y="3433471"/>
            <a:ext cx="311944" cy="1248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42FFC4E-6AE6-DE0B-8F3E-80F6B5645753}"/>
              </a:ext>
            </a:extLst>
          </p:cNvPr>
          <p:cNvSpPr/>
          <p:nvPr/>
        </p:nvSpPr>
        <p:spPr>
          <a:xfrm>
            <a:off x="10952405" y="3876344"/>
            <a:ext cx="432000" cy="10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600" b="1"/>
              <a:t>ECOVADI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B2F6A15-DD3C-D10F-4E82-33084DC6AB76}"/>
              </a:ext>
            </a:extLst>
          </p:cNvPr>
          <p:cNvSpPr/>
          <p:nvPr/>
        </p:nvSpPr>
        <p:spPr>
          <a:xfrm>
            <a:off x="11141861" y="3663330"/>
            <a:ext cx="300839" cy="10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600" b="1"/>
              <a:t>REACH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E0D558C6-F416-DF8F-127D-C512E998CF12}"/>
              </a:ext>
            </a:extLst>
          </p:cNvPr>
          <p:cNvSpPr/>
          <p:nvPr/>
        </p:nvSpPr>
        <p:spPr>
          <a:xfrm>
            <a:off x="11427216" y="3625196"/>
            <a:ext cx="18048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5" name="Grafik 24" descr="Glühbirne und Zahnrad mit einfarbiger Füllung">
            <a:extLst>
              <a:ext uri="{FF2B5EF4-FFF2-40B4-BE49-F238E27FC236}">
                <a16:creationId xmlns:a16="http://schemas.microsoft.com/office/drawing/2014/main" id="{569F3071-79AE-B867-A8AC-04F729A0DA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42700" y="3640440"/>
            <a:ext cx="149512" cy="149512"/>
          </a:xfrm>
          <a:prstGeom prst="rect">
            <a:avLst/>
          </a:prstGeom>
        </p:spPr>
      </p:pic>
      <p:sp>
        <p:nvSpPr>
          <p:cNvPr id="26" name="Ellipse 25">
            <a:extLst>
              <a:ext uri="{FF2B5EF4-FFF2-40B4-BE49-F238E27FC236}">
                <a16:creationId xmlns:a16="http://schemas.microsoft.com/office/drawing/2014/main" id="{93357D31-F528-613C-38F8-615B476DCDD4}"/>
              </a:ext>
            </a:extLst>
          </p:cNvPr>
          <p:cNvSpPr/>
          <p:nvPr/>
        </p:nvSpPr>
        <p:spPr>
          <a:xfrm>
            <a:off x="11373427" y="3839062"/>
            <a:ext cx="18048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7" name="Grafik 26" descr="Glühbirne und Zahnrad mit einfarbiger Füllung">
            <a:extLst>
              <a:ext uri="{FF2B5EF4-FFF2-40B4-BE49-F238E27FC236}">
                <a16:creationId xmlns:a16="http://schemas.microsoft.com/office/drawing/2014/main" id="{84547BFB-83FC-C583-31B4-C3AA3A6BEB4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388911" y="3854306"/>
            <a:ext cx="149512" cy="149512"/>
          </a:xfrm>
          <a:prstGeom prst="rect">
            <a:avLst/>
          </a:prstGeom>
        </p:spPr>
      </p:pic>
      <p:pic>
        <p:nvPicPr>
          <p:cNvPr id="28" name="Picture 18">
            <a:extLst>
              <a:ext uri="{FF2B5EF4-FFF2-40B4-BE49-F238E27FC236}">
                <a16:creationId xmlns:a16="http://schemas.microsoft.com/office/drawing/2014/main" id="{64E81206-16FB-4834-CE96-ADE013FB3EC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r="71810"/>
          <a:stretch/>
        </p:blipFill>
        <p:spPr>
          <a:xfrm>
            <a:off x="8536478" y="2883090"/>
            <a:ext cx="217105" cy="330439"/>
          </a:xfrm>
          <a:prstGeom prst="rect">
            <a:avLst/>
          </a:prstGeom>
        </p:spPr>
      </p:pic>
      <p:pic>
        <p:nvPicPr>
          <p:cNvPr id="29" name="Picture 18">
            <a:extLst>
              <a:ext uri="{FF2B5EF4-FFF2-40B4-BE49-F238E27FC236}">
                <a16:creationId xmlns:a16="http://schemas.microsoft.com/office/drawing/2014/main" id="{8E5CAEBB-D3CA-AC4A-C6AE-4FC48B0B3DE1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r="71810"/>
          <a:stretch/>
        </p:blipFill>
        <p:spPr>
          <a:xfrm>
            <a:off x="5918017" y="1806013"/>
            <a:ext cx="262698" cy="39983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ED893ABD-0C79-FD64-541C-E8EF287ED557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0751"/>
          <a:stretch/>
        </p:blipFill>
        <p:spPr>
          <a:xfrm>
            <a:off x="7953430" y="3394331"/>
            <a:ext cx="1362358" cy="6591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1" name="Gruppieren 4">
            <a:extLst>
              <a:ext uri="{FF2B5EF4-FFF2-40B4-BE49-F238E27FC236}">
                <a16:creationId xmlns:a16="http://schemas.microsoft.com/office/drawing/2014/main" id="{844FF2A6-9C97-52BB-8CF5-8F13D9908E11}"/>
              </a:ext>
            </a:extLst>
          </p:cNvPr>
          <p:cNvGrpSpPr/>
          <p:nvPr/>
        </p:nvGrpSpPr>
        <p:grpSpPr>
          <a:xfrm>
            <a:off x="998439" y="2476220"/>
            <a:ext cx="2651782" cy="2806075"/>
            <a:chOff x="6880789" y="1046028"/>
            <a:chExt cx="4270720" cy="4971133"/>
          </a:xfrm>
        </p:grpSpPr>
        <p:pic>
          <p:nvPicPr>
            <p:cNvPr id="32" name="Grafik 5">
              <a:extLst>
                <a:ext uri="{FF2B5EF4-FFF2-40B4-BE49-F238E27FC236}">
                  <a16:creationId xmlns:a16="http://schemas.microsoft.com/office/drawing/2014/main" id="{68BF08E4-4D73-A891-F4C3-2FBC47E66B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082690" y="1431160"/>
              <a:ext cx="2312267" cy="327530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3" name="Grafik 6">
              <a:extLst>
                <a:ext uri="{FF2B5EF4-FFF2-40B4-BE49-F238E27FC236}">
                  <a16:creationId xmlns:a16="http://schemas.microsoft.com/office/drawing/2014/main" id="{87A00B0F-9706-631E-A4AC-5759B25394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417943" y="1486741"/>
              <a:ext cx="1733566" cy="247914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4" name="Grafik 7">
              <a:extLst>
                <a:ext uri="{FF2B5EF4-FFF2-40B4-BE49-F238E27FC236}">
                  <a16:creationId xmlns:a16="http://schemas.microsoft.com/office/drawing/2014/main" id="{3C7FC67D-D90E-7C4C-F7A0-7B685DBEDA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967554" y="3019807"/>
              <a:ext cx="1902885" cy="262202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5" name="Grafik 8">
              <a:extLst>
                <a:ext uri="{FF2B5EF4-FFF2-40B4-BE49-F238E27FC236}">
                  <a16:creationId xmlns:a16="http://schemas.microsoft.com/office/drawing/2014/main" id="{BE282D6F-6F90-ED2D-7B0F-E86AFD4646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880789" y="2369893"/>
              <a:ext cx="2263382" cy="316775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6" name="Grafik 9">
              <a:extLst>
                <a:ext uri="{FF2B5EF4-FFF2-40B4-BE49-F238E27FC236}">
                  <a16:creationId xmlns:a16="http://schemas.microsoft.com/office/drawing/2014/main" id="{2FCAEA81-A2D6-8025-E7DF-6700818191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034666" y="1046028"/>
              <a:ext cx="1882684" cy="273110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7" name="Grafik 10">
              <a:extLst>
                <a:ext uri="{FF2B5EF4-FFF2-40B4-BE49-F238E27FC236}">
                  <a16:creationId xmlns:a16="http://schemas.microsoft.com/office/drawing/2014/main" id="{B6A9C6F1-2AD2-D254-89A1-F87A4F3E2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531623" y="2028858"/>
              <a:ext cx="1565955" cy="224041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8" name="Grafik 11">
              <a:extLst>
                <a:ext uri="{FF2B5EF4-FFF2-40B4-BE49-F238E27FC236}">
                  <a16:creationId xmlns:a16="http://schemas.microsoft.com/office/drawing/2014/main" id="{65A9B9D0-0D94-6AE6-886D-A739853A26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230127" y="2741856"/>
              <a:ext cx="2312267" cy="327530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39" name="Ellipse 38">
            <a:extLst>
              <a:ext uri="{FF2B5EF4-FFF2-40B4-BE49-F238E27FC236}">
                <a16:creationId xmlns:a16="http://schemas.microsoft.com/office/drawing/2014/main" id="{14E9717B-7401-B704-A182-1F091B19FA60}"/>
              </a:ext>
            </a:extLst>
          </p:cNvPr>
          <p:cNvSpPr/>
          <p:nvPr/>
        </p:nvSpPr>
        <p:spPr>
          <a:xfrm>
            <a:off x="79769" y="249330"/>
            <a:ext cx="486968" cy="466437"/>
          </a:xfrm>
          <a:prstGeom prst="ellipse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40" name="Titel 2">
            <a:extLst>
              <a:ext uri="{FF2B5EF4-FFF2-40B4-BE49-F238E27FC236}">
                <a16:creationId xmlns:a16="http://schemas.microsoft.com/office/drawing/2014/main" id="{ACF35602-EE3E-E8CE-6136-D71D73F6BBE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663112"/>
            <a:ext cx="10944225" cy="369334"/>
          </a:xfrm>
        </p:spPr>
        <p:txBody>
          <a:bodyPr>
            <a:normAutofit/>
          </a:bodyPr>
          <a:lstStyle/>
          <a:p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Use Case: CONTRACT READING &amp; -ANALY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65135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786525-6207-A680-C0CE-902817685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3D3BF09-EEA5-9267-4DD9-F60DB54CD8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Selected </a:t>
            </a:r>
            <a:r>
              <a:rPr lang="de-DE" err="1"/>
              <a:t>use</a:t>
            </a:r>
            <a:r>
              <a:rPr lang="de-DE"/>
              <a:t> Cases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selected</a:t>
            </a:r>
            <a:r>
              <a:rPr lang="de-DE"/>
              <a:t> </a:t>
            </a:r>
            <a:r>
              <a:rPr lang="de-DE" err="1"/>
              <a:t>clients</a:t>
            </a:r>
            <a:endParaRPr lang="de-DE"/>
          </a:p>
        </p:txBody>
      </p:sp>
      <p:sp>
        <p:nvSpPr>
          <p:cNvPr id="39" name="Rectangle 43">
            <a:extLst>
              <a:ext uri="{FF2B5EF4-FFF2-40B4-BE49-F238E27FC236}">
                <a16:creationId xmlns:a16="http://schemas.microsoft.com/office/drawing/2014/main" id="{042B977A-BCCD-719E-60F5-F0FD0807366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263820"/>
            <a:ext cx="12192000" cy="5104798"/>
          </a:xfrm>
          <a:prstGeom prst="rect">
            <a:avLst/>
          </a:prstGeom>
          <a:solidFill>
            <a:schemeClr val="accent5">
              <a:lumMod val="20000"/>
              <a:lumOff val="80000"/>
              <a:alpha val="34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</a:pPr>
            <a:endParaRPr lang="en-DE" sz="1600" dirty="0">
              <a:solidFill>
                <a:schemeClr val="tx1"/>
              </a:solidFill>
            </a:endParaRPr>
          </a:p>
        </p:txBody>
      </p:sp>
      <p:sp>
        <p:nvSpPr>
          <p:cNvPr id="40" name="Textfeld 69">
            <a:extLst>
              <a:ext uri="{FF2B5EF4-FFF2-40B4-BE49-F238E27FC236}">
                <a16:creationId xmlns:a16="http://schemas.microsoft.com/office/drawing/2014/main" id="{54A4C992-13D6-B888-F41D-00CBA2BC100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87868" y="5656368"/>
            <a:ext cx="2478165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914126"/>
            <a:r>
              <a:rPr lang="en-US" sz="1400" b="1">
                <a:solidFill>
                  <a:schemeClr val="bg2"/>
                </a:solidFill>
                <a:latin typeface="Arial"/>
              </a:rPr>
              <a:t>Processing of Scanned Documents with Low Quality</a:t>
            </a:r>
          </a:p>
        </p:txBody>
      </p:sp>
      <p:sp>
        <p:nvSpPr>
          <p:cNvPr id="41" name="Ellipse 60">
            <a:extLst>
              <a:ext uri="{FF2B5EF4-FFF2-40B4-BE49-F238E27FC236}">
                <a16:creationId xmlns:a16="http://schemas.microsoft.com/office/drawing/2014/main" id="{7FA226BB-D9E4-704B-E62B-54A9A874CA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940900" y="5296118"/>
            <a:ext cx="369378" cy="368731"/>
          </a:xfrm>
          <a:prstGeom prst="ellipse">
            <a:avLst/>
          </a:prstGeom>
          <a:noFill/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1" tIns="35991" rIns="35991" bIns="35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1400" b="1">
                <a:solidFill>
                  <a:schemeClr val="bg2"/>
                </a:solidFill>
                <a:latin typeface="Arial"/>
              </a:rPr>
              <a:t>%</a:t>
            </a:r>
          </a:p>
        </p:txBody>
      </p:sp>
      <p:sp>
        <p:nvSpPr>
          <p:cNvPr id="42" name="Textfeld 61">
            <a:extLst>
              <a:ext uri="{FF2B5EF4-FFF2-40B4-BE49-F238E27FC236}">
                <a16:creationId xmlns:a16="http://schemas.microsoft.com/office/drawing/2014/main" id="{14F84986-92A5-6C1E-B2A8-E20A91822F0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669688" y="5655355"/>
            <a:ext cx="291180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914126"/>
            <a:r>
              <a:rPr lang="en-US" sz="1400" b="1">
                <a:solidFill>
                  <a:schemeClr val="bg2"/>
                </a:solidFill>
                <a:latin typeface="Arial"/>
              </a:rPr>
              <a:t>Retrieval of Bonus Agreements </a:t>
            </a:r>
            <a:br>
              <a:rPr lang="en-US" sz="1400" b="1">
                <a:solidFill>
                  <a:schemeClr val="bg2"/>
                </a:solidFill>
                <a:latin typeface="Arial"/>
              </a:rPr>
            </a:br>
            <a:r>
              <a:rPr lang="en-US" sz="1400" b="1">
                <a:solidFill>
                  <a:schemeClr val="bg2"/>
                </a:solidFill>
                <a:latin typeface="Arial"/>
              </a:rPr>
              <a:t>for Proactive Controlling</a:t>
            </a:r>
          </a:p>
        </p:txBody>
      </p:sp>
      <p:sp>
        <p:nvSpPr>
          <p:cNvPr id="43" name="Ellipse 64">
            <a:extLst>
              <a:ext uri="{FF2B5EF4-FFF2-40B4-BE49-F238E27FC236}">
                <a16:creationId xmlns:a16="http://schemas.microsoft.com/office/drawing/2014/main" id="{477B3F52-11D6-1A28-C769-300BCD65D65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021989" y="5299726"/>
            <a:ext cx="369378" cy="368731"/>
          </a:xfrm>
          <a:prstGeom prst="ellipse">
            <a:avLst/>
          </a:prstGeom>
          <a:noFill/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1" tIns="35991" rIns="35991" bIns="35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400" b="1">
              <a:solidFill>
                <a:schemeClr val="bg2"/>
              </a:solidFill>
              <a:latin typeface="Arial"/>
            </a:endParaRPr>
          </a:p>
        </p:txBody>
      </p:sp>
      <p:sp>
        <p:nvSpPr>
          <p:cNvPr id="44" name="Textfeld 65">
            <a:extLst>
              <a:ext uri="{FF2B5EF4-FFF2-40B4-BE49-F238E27FC236}">
                <a16:creationId xmlns:a16="http://schemas.microsoft.com/office/drawing/2014/main" id="{71F66B6D-661F-C9E2-BC50-0A0DFB8B71A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372971" y="5656331"/>
            <a:ext cx="1628775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914126"/>
            <a:r>
              <a:rPr lang="en-US" sz="1400" b="1">
                <a:solidFill>
                  <a:schemeClr val="bg2"/>
                </a:solidFill>
                <a:latin typeface="Arial"/>
              </a:rPr>
              <a:t>Multi-lingual </a:t>
            </a:r>
            <a:br>
              <a:rPr lang="en-US" sz="1400" b="1">
                <a:solidFill>
                  <a:schemeClr val="bg2"/>
                </a:solidFill>
                <a:latin typeface="Arial"/>
              </a:rPr>
            </a:br>
            <a:r>
              <a:rPr lang="en-US" sz="1400" b="1">
                <a:solidFill>
                  <a:schemeClr val="bg2"/>
                </a:solidFill>
                <a:latin typeface="Arial"/>
              </a:rPr>
              <a:t>Data Processing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D5E86B7-6430-F1D7-528B-47F42546E86C}"/>
              </a:ext>
            </a:extLst>
          </p:cNvPr>
          <p:cNvGrpSpPr/>
          <p:nvPr/>
        </p:nvGrpSpPr>
        <p:grpSpPr>
          <a:xfrm>
            <a:off x="2263761" y="5300604"/>
            <a:ext cx="369378" cy="368731"/>
            <a:chOff x="817657" y="5679191"/>
            <a:chExt cx="369378" cy="368731"/>
          </a:xfrm>
        </p:grpSpPr>
        <p:sp>
          <p:nvSpPr>
            <p:cNvPr id="46" name="Ellipse 68">
              <a:extLst>
                <a:ext uri="{FF2B5EF4-FFF2-40B4-BE49-F238E27FC236}">
                  <a16:creationId xmlns:a16="http://schemas.microsoft.com/office/drawing/2014/main" id="{E3E221E4-A125-3B27-8754-6A3EB9971C8F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817657" y="5679191"/>
              <a:ext cx="369378" cy="368731"/>
            </a:xfrm>
            <a:prstGeom prst="ellipse">
              <a:avLst/>
            </a:prstGeom>
            <a:noFill/>
            <a:ln w="9525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5991" tIns="35991" rIns="35991" bIns="359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endParaRPr lang="en-US" sz="1400" b="1">
                <a:solidFill>
                  <a:schemeClr val="bg2"/>
                </a:solidFill>
                <a:latin typeface="Arial"/>
              </a:endParaRPr>
            </a:p>
          </p:txBody>
        </p:sp>
        <p:pic>
          <p:nvPicPr>
            <p:cNvPr id="47" name="Graphic 72" descr="Payroll with solid fill">
              <a:extLst>
                <a:ext uri="{FF2B5EF4-FFF2-40B4-BE49-F238E27FC236}">
                  <a16:creationId xmlns:a16="http://schemas.microsoft.com/office/drawing/2014/main" id="{E9374E49-B3DE-6E2C-02FA-CB9CFF46B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80176" y="5728428"/>
              <a:ext cx="244339" cy="244339"/>
            </a:xfrm>
            <a:prstGeom prst="rect">
              <a:avLst/>
            </a:prstGeom>
          </p:spPr>
        </p:pic>
      </p:grpSp>
      <p:grpSp>
        <p:nvGrpSpPr>
          <p:cNvPr id="48" name="Group 32">
            <a:extLst>
              <a:ext uri="{FF2B5EF4-FFF2-40B4-BE49-F238E27FC236}">
                <a16:creationId xmlns:a16="http://schemas.microsoft.com/office/drawing/2014/main" id="{285075DD-476B-6EEA-1DBB-B9E5561C49FA}"/>
              </a:ext>
            </a:extLst>
          </p:cNvPr>
          <p:cNvGrpSpPr/>
          <p:nvPr/>
        </p:nvGrpSpPr>
        <p:grpSpPr>
          <a:xfrm>
            <a:off x="1411732" y="1296893"/>
            <a:ext cx="9059799" cy="3485499"/>
            <a:chOff x="557532" y="1101213"/>
            <a:chExt cx="11080111" cy="4262756"/>
          </a:xfrm>
        </p:grpSpPr>
        <p:pic>
          <p:nvPicPr>
            <p:cNvPr id="49" name="Picture 74">
              <a:extLst>
                <a:ext uri="{FF2B5EF4-FFF2-40B4-BE49-F238E27FC236}">
                  <a16:creationId xmlns:a16="http://schemas.microsoft.com/office/drawing/2014/main" id="{F950F39F-C044-5389-0CDB-C3CF3FB99A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rcRect l="1197" t="10713" r="1197"/>
            <a:stretch/>
          </p:blipFill>
          <p:spPr>
            <a:xfrm>
              <a:off x="557532" y="1101213"/>
              <a:ext cx="11080111" cy="426275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50" name="Group 91">
              <a:extLst>
                <a:ext uri="{FF2B5EF4-FFF2-40B4-BE49-F238E27FC236}">
                  <a16:creationId xmlns:a16="http://schemas.microsoft.com/office/drawing/2014/main" id="{37243663-36E9-1B69-5612-2F0908173B7C}"/>
                </a:ext>
              </a:extLst>
            </p:cNvPr>
            <p:cNvGrpSpPr/>
            <p:nvPr/>
          </p:nvGrpSpPr>
          <p:grpSpPr>
            <a:xfrm>
              <a:off x="557532" y="3145437"/>
              <a:ext cx="2157859" cy="239518"/>
              <a:chOff x="711505" y="4839445"/>
              <a:chExt cx="2157859" cy="239518"/>
            </a:xfrm>
          </p:grpSpPr>
          <p:sp>
            <p:nvSpPr>
              <p:cNvPr id="6144" name="Textfeld 4">
                <a:extLst>
                  <a:ext uri="{FF2B5EF4-FFF2-40B4-BE49-F238E27FC236}">
                    <a16:creationId xmlns:a16="http://schemas.microsoft.com/office/drawing/2014/main" id="{01538C5B-85D7-435E-1FEE-77F6047020A0}"/>
                  </a:ext>
                </a:extLst>
              </p:cNvPr>
              <p:cNvSpPr txBox="1"/>
              <p:nvPr/>
            </p:nvSpPr>
            <p:spPr>
              <a:xfrm>
                <a:off x="711505" y="4877226"/>
                <a:ext cx="2157859" cy="16395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457063" indent="-457063" defTabSz="914126">
                  <a:lnSpc>
                    <a:spcPct val="110000"/>
                  </a:lnSpc>
                  <a:spcBef>
                    <a:spcPts val="200"/>
                  </a:spcBef>
                  <a:buClr>
                    <a:srgbClr val="FFFFFF"/>
                  </a:buClr>
                  <a:buFont typeface="+mj-lt"/>
                  <a:buAutoNum type="arabicPeriod"/>
                </a:pPr>
                <a:r>
                  <a:rPr lang="en-US" sz="1050" b="1">
                    <a:solidFill>
                      <a:schemeClr val="bg2"/>
                    </a:solidFill>
                    <a:latin typeface="Arial"/>
                  </a:rPr>
                  <a:t>Payment Terms</a:t>
                </a:r>
              </a:p>
            </p:txBody>
          </p:sp>
          <p:sp>
            <p:nvSpPr>
              <p:cNvPr id="6145" name="Ellipse 6">
                <a:extLst>
                  <a:ext uri="{FF2B5EF4-FFF2-40B4-BE49-F238E27FC236}">
                    <a16:creationId xmlns:a16="http://schemas.microsoft.com/office/drawing/2014/main" id="{998970F4-606F-594F-FD0B-470C8FCB948B}"/>
                  </a:ext>
                </a:extLst>
              </p:cNvPr>
              <p:cNvSpPr/>
              <p:nvPr/>
            </p:nvSpPr>
            <p:spPr>
              <a:xfrm>
                <a:off x="905284" y="4839445"/>
                <a:ext cx="239518" cy="239518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r>
                  <a:rPr lang="en-US" sz="1400" b="1">
                    <a:solidFill>
                      <a:srgbClr val="FFFFFF"/>
                    </a:solidFill>
                    <a:latin typeface="Arial"/>
                  </a:rPr>
                  <a:t>!</a:t>
                </a:r>
              </a:p>
            </p:txBody>
          </p:sp>
        </p:grpSp>
        <p:grpSp>
          <p:nvGrpSpPr>
            <p:cNvPr id="51" name="Group 44">
              <a:extLst>
                <a:ext uri="{FF2B5EF4-FFF2-40B4-BE49-F238E27FC236}">
                  <a16:creationId xmlns:a16="http://schemas.microsoft.com/office/drawing/2014/main" id="{B4D68583-E131-2D66-CA3F-76093DD953E7}"/>
                </a:ext>
              </a:extLst>
            </p:cNvPr>
            <p:cNvGrpSpPr/>
            <p:nvPr/>
          </p:nvGrpSpPr>
          <p:grpSpPr>
            <a:xfrm>
              <a:off x="557532" y="2821229"/>
              <a:ext cx="2157859" cy="239518"/>
              <a:chOff x="557533" y="4231687"/>
              <a:chExt cx="2157859" cy="239518"/>
            </a:xfrm>
          </p:grpSpPr>
          <p:sp>
            <p:nvSpPr>
              <p:cNvPr id="62" name="Textfeld 4">
                <a:extLst>
                  <a:ext uri="{FF2B5EF4-FFF2-40B4-BE49-F238E27FC236}">
                    <a16:creationId xmlns:a16="http://schemas.microsoft.com/office/drawing/2014/main" id="{87D7E936-D2C1-BB1C-A4E4-AD5E3B6D6C0A}"/>
                  </a:ext>
                </a:extLst>
              </p:cNvPr>
              <p:cNvSpPr txBox="1"/>
              <p:nvPr/>
            </p:nvSpPr>
            <p:spPr>
              <a:xfrm>
                <a:off x="557533" y="4269468"/>
                <a:ext cx="2157859" cy="16395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457063" indent="-457063" defTabSz="914126">
                  <a:lnSpc>
                    <a:spcPct val="110000"/>
                  </a:lnSpc>
                  <a:spcBef>
                    <a:spcPts val="200"/>
                  </a:spcBef>
                  <a:buClr>
                    <a:srgbClr val="FFFFFF"/>
                  </a:buClr>
                  <a:buFont typeface="+mj-lt"/>
                  <a:buAutoNum type="arabicPeriod"/>
                </a:pPr>
                <a:r>
                  <a:rPr lang="en-US" sz="1050" b="1">
                    <a:solidFill>
                      <a:schemeClr val="bg2"/>
                    </a:solidFill>
                    <a:latin typeface="Arial"/>
                  </a:rPr>
                  <a:t>Incoterms</a:t>
                </a:r>
              </a:p>
            </p:txBody>
          </p:sp>
          <p:sp>
            <p:nvSpPr>
              <p:cNvPr id="63" name="Ellipse 6">
                <a:extLst>
                  <a:ext uri="{FF2B5EF4-FFF2-40B4-BE49-F238E27FC236}">
                    <a16:creationId xmlns:a16="http://schemas.microsoft.com/office/drawing/2014/main" id="{547A4966-3EA5-C956-F748-41743658D565}"/>
                  </a:ext>
                </a:extLst>
              </p:cNvPr>
              <p:cNvSpPr/>
              <p:nvPr/>
            </p:nvSpPr>
            <p:spPr>
              <a:xfrm>
                <a:off x="751312" y="4231687"/>
                <a:ext cx="239518" cy="239518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r>
                  <a:rPr lang="en-US" sz="1400" b="1">
                    <a:solidFill>
                      <a:srgbClr val="FFFFFF"/>
                    </a:solidFill>
                    <a:latin typeface="Arial"/>
                  </a:rPr>
                  <a:t>!</a:t>
                </a:r>
              </a:p>
            </p:txBody>
          </p:sp>
        </p:grpSp>
        <p:sp>
          <p:nvSpPr>
            <p:cNvPr id="52" name="Rechteck 44">
              <a:extLst>
                <a:ext uri="{FF2B5EF4-FFF2-40B4-BE49-F238E27FC236}">
                  <a16:creationId xmlns:a16="http://schemas.microsoft.com/office/drawing/2014/main" id="{BE463472-BB5F-B846-FBE2-EA16703AD873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235826" flipH="1">
              <a:off x="7643039" y="3034154"/>
              <a:ext cx="3790823" cy="144000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400" b="1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53" name="Group 43">
              <a:extLst>
                <a:ext uri="{FF2B5EF4-FFF2-40B4-BE49-F238E27FC236}">
                  <a16:creationId xmlns:a16="http://schemas.microsoft.com/office/drawing/2014/main" id="{C3145F4E-28CF-4F22-2EDF-F43BDBAA32CC}"/>
                </a:ext>
              </a:extLst>
            </p:cNvPr>
            <p:cNvGrpSpPr/>
            <p:nvPr/>
          </p:nvGrpSpPr>
          <p:grpSpPr>
            <a:xfrm>
              <a:off x="557532" y="3771603"/>
              <a:ext cx="2157859" cy="239580"/>
              <a:chOff x="557532" y="4628208"/>
              <a:chExt cx="2157859" cy="239580"/>
            </a:xfrm>
          </p:grpSpPr>
          <p:sp>
            <p:nvSpPr>
              <p:cNvPr id="60" name="Textfeld 4">
                <a:extLst>
                  <a:ext uri="{FF2B5EF4-FFF2-40B4-BE49-F238E27FC236}">
                    <a16:creationId xmlns:a16="http://schemas.microsoft.com/office/drawing/2014/main" id="{AED64529-AEC3-FC9A-D61C-FBC12FF54FB7}"/>
                  </a:ext>
                </a:extLst>
              </p:cNvPr>
              <p:cNvSpPr txBox="1"/>
              <p:nvPr/>
            </p:nvSpPr>
            <p:spPr>
              <a:xfrm>
                <a:off x="557532" y="4642691"/>
                <a:ext cx="2157859" cy="16395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457063" indent="-457063" defTabSz="914126">
                  <a:lnSpc>
                    <a:spcPct val="110000"/>
                  </a:lnSpc>
                  <a:spcBef>
                    <a:spcPts val="200"/>
                  </a:spcBef>
                  <a:buClr>
                    <a:srgbClr val="FFFFFF"/>
                  </a:buClr>
                  <a:buFont typeface="+mj-lt"/>
                  <a:buAutoNum type="arabicPeriod"/>
                </a:pPr>
                <a:r>
                  <a:rPr lang="en-US" sz="1050" b="1">
                    <a:solidFill>
                      <a:schemeClr val="bg2"/>
                    </a:solidFill>
                    <a:latin typeface="Arial"/>
                  </a:rPr>
                  <a:t>Bonus Agreements</a:t>
                </a:r>
              </a:p>
            </p:txBody>
          </p:sp>
          <p:sp>
            <p:nvSpPr>
              <p:cNvPr id="61" name="Ellipse 20">
                <a:extLst>
                  <a:ext uri="{FF2B5EF4-FFF2-40B4-BE49-F238E27FC236}">
                    <a16:creationId xmlns:a16="http://schemas.microsoft.com/office/drawing/2014/main" id="{EE25DCCA-8D8B-3281-A5F0-C8D74B2F7F6A}"/>
                  </a:ext>
                </a:extLst>
              </p:cNvPr>
              <p:cNvSpPr/>
              <p:nvPr/>
            </p:nvSpPr>
            <p:spPr>
              <a:xfrm>
                <a:off x="751312" y="4628208"/>
                <a:ext cx="239580" cy="23958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rIns="0" rtlCol="0" anchor="ctr"/>
              <a:lstStyle/>
              <a:p>
                <a:pPr algn="ctr"/>
                <a:r>
                  <a:rPr lang="en-US" sz="1400" b="1"/>
                  <a:t>!</a:t>
                </a:r>
              </a:p>
            </p:txBody>
          </p:sp>
        </p:grpSp>
        <p:sp>
          <p:nvSpPr>
            <p:cNvPr id="54" name="Rectangle 50">
              <a:extLst>
                <a:ext uri="{FF2B5EF4-FFF2-40B4-BE49-F238E27FC236}">
                  <a16:creationId xmlns:a16="http://schemas.microsoft.com/office/drawing/2014/main" id="{7F758D00-A58D-4072-0E71-EBDC560094A5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6759925" y="3713331"/>
              <a:ext cx="190500" cy="2851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5" name="Rechteck 44">
              <a:extLst>
                <a:ext uri="{FF2B5EF4-FFF2-40B4-BE49-F238E27FC236}">
                  <a16:creationId xmlns:a16="http://schemas.microsoft.com/office/drawing/2014/main" id="{8F4A9C6A-11F0-38B1-6A19-0C3CF2834875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235826" flipH="1">
              <a:off x="8310222" y="3235582"/>
              <a:ext cx="3096176" cy="239112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400" b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6" name="Rechteck 44">
              <a:extLst>
                <a:ext uri="{FF2B5EF4-FFF2-40B4-BE49-F238E27FC236}">
                  <a16:creationId xmlns:a16="http://schemas.microsoft.com/office/drawing/2014/main" id="{0BC38E6F-FA84-1349-900C-4315C53D1609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 rot="235826" flipH="1">
              <a:off x="8322490" y="3788771"/>
              <a:ext cx="1495456" cy="158645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400" b="1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57" name="Verbinder: gewinkelt 45">
              <a:extLst>
                <a:ext uri="{FF2B5EF4-FFF2-40B4-BE49-F238E27FC236}">
                  <a16:creationId xmlns:a16="http://schemas.microsoft.com/office/drawing/2014/main" id="{D2354685-DAD3-2738-445E-E1870C2906E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4714875" y="2962275"/>
              <a:ext cx="3609378" cy="816470"/>
            </a:xfrm>
            <a:prstGeom prst="bentConnector3">
              <a:avLst>
                <a:gd name="adj1" fmla="val 30208"/>
              </a:avLst>
            </a:prstGeom>
            <a:ln w="1905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95">
              <a:extLst>
                <a:ext uri="{FF2B5EF4-FFF2-40B4-BE49-F238E27FC236}">
                  <a16:creationId xmlns:a16="http://schemas.microsoft.com/office/drawing/2014/main" id="{5D68DBA8-5A71-94E9-4901-8BB75F4EA01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50425" y="3228975"/>
              <a:ext cx="1355243" cy="838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Verbinder: gewinkelt 45">
              <a:extLst>
                <a:ext uri="{FF2B5EF4-FFF2-40B4-BE49-F238E27FC236}">
                  <a16:creationId xmlns:a16="http://schemas.microsoft.com/office/drawing/2014/main" id="{0F04F79B-2E21-42FC-52B6-24B2BF6107BF}"/>
                </a:ext>
              </a:extLst>
            </p:cNvPr>
            <p:cNvCxnSpPr>
              <a:cxnSpLocks/>
              <a:stCxn id="52" idx="3"/>
              <a:endCxn id="54" idx="3"/>
            </p:cNvCxnSpPr>
            <p:nvPr/>
          </p:nvCxnSpPr>
          <p:spPr>
            <a:xfrm rot="10800000" flipV="1">
              <a:off x="6950425" y="2976233"/>
              <a:ext cx="697072" cy="879674"/>
            </a:xfrm>
            <a:prstGeom prst="bentConnector3">
              <a:avLst>
                <a:gd name="adj1" fmla="val 29504"/>
              </a:avLst>
            </a:prstGeom>
            <a:ln w="1905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147" name="Grafik 6146">
            <a:extLst>
              <a:ext uri="{FF2B5EF4-FFF2-40B4-BE49-F238E27FC236}">
                <a16:creationId xmlns:a16="http://schemas.microsoft.com/office/drawing/2014/main" id="{21EEF17E-3A77-6757-3485-807CF6DF378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Texturiz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95216" y="2472573"/>
            <a:ext cx="715311" cy="205642"/>
          </a:xfrm>
          <a:prstGeom prst="rect">
            <a:avLst/>
          </a:prstGeom>
        </p:spPr>
      </p:pic>
      <p:pic>
        <p:nvPicPr>
          <p:cNvPr id="6150" name="Grafik 6149">
            <a:extLst>
              <a:ext uri="{FF2B5EF4-FFF2-40B4-BE49-F238E27FC236}">
                <a16:creationId xmlns:a16="http://schemas.microsoft.com/office/drawing/2014/main" id="{7F15AEB6-2214-C13D-4425-24A5EA88FBF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Texturiz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70849" y="4466107"/>
            <a:ext cx="2870051" cy="308303"/>
          </a:xfrm>
          <a:prstGeom prst="rect">
            <a:avLst/>
          </a:prstGeom>
        </p:spPr>
      </p:pic>
      <p:pic>
        <p:nvPicPr>
          <p:cNvPr id="6151" name="Grafik 6150">
            <a:extLst>
              <a:ext uri="{FF2B5EF4-FFF2-40B4-BE49-F238E27FC236}">
                <a16:creationId xmlns:a16="http://schemas.microsoft.com/office/drawing/2014/main" id="{DF27793C-8877-45EE-EA16-1A840AD88EB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Texturiz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56163" y="3424564"/>
            <a:ext cx="219046" cy="96323"/>
          </a:xfrm>
          <a:prstGeom prst="rect">
            <a:avLst/>
          </a:prstGeom>
        </p:spPr>
      </p:pic>
      <p:pic>
        <p:nvPicPr>
          <p:cNvPr id="6152" name="Grafik 6151" descr="Chat mit einfarbiger Füllung">
            <a:extLst>
              <a:ext uri="{FF2B5EF4-FFF2-40B4-BE49-F238E27FC236}">
                <a16:creationId xmlns:a16="http://schemas.microsoft.com/office/drawing/2014/main" id="{4BB5DD72-374E-44FC-5A2A-70FF3A9A06D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052150" y="5360563"/>
            <a:ext cx="320492" cy="320492"/>
          </a:xfrm>
          <a:prstGeom prst="rect">
            <a:avLst/>
          </a:prstGeom>
        </p:spPr>
      </p:pic>
      <p:sp>
        <p:nvSpPr>
          <p:cNvPr id="6153" name="Ellipse 6152">
            <a:extLst>
              <a:ext uri="{FF2B5EF4-FFF2-40B4-BE49-F238E27FC236}">
                <a16:creationId xmlns:a16="http://schemas.microsoft.com/office/drawing/2014/main" id="{ACAB0C34-58D8-D90A-5190-3DDA985CD6D7}"/>
              </a:ext>
            </a:extLst>
          </p:cNvPr>
          <p:cNvSpPr/>
          <p:nvPr/>
        </p:nvSpPr>
        <p:spPr>
          <a:xfrm>
            <a:off x="79769" y="249330"/>
            <a:ext cx="486968" cy="466437"/>
          </a:xfrm>
          <a:prstGeom prst="ellipse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6154" name="Titel 2">
            <a:extLst>
              <a:ext uri="{FF2B5EF4-FFF2-40B4-BE49-F238E27FC236}">
                <a16:creationId xmlns:a16="http://schemas.microsoft.com/office/drawing/2014/main" id="{D4BA6114-B3AB-ECD2-B161-5B0E0B6063E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663112"/>
            <a:ext cx="10944225" cy="369334"/>
          </a:xfrm>
        </p:spPr>
        <p:txBody>
          <a:bodyPr>
            <a:normAutofit/>
          </a:bodyPr>
          <a:lstStyle/>
          <a:p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Use Case: CONTRACT READING &amp; -ANALYSIS</a:t>
            </a:r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38D3AEA-C4DF-ABC9-5F3A-99E04F9DFCB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Texturiz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309277">
            <a:off x="7143739" y="3965546"/>
            <a:ext cx="924054" cy="10083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45F938F-3642-3FF8-10D6-D738B9B86C0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Texturiz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9898" y="2211281"/>
            <a:ext cx="1104037" cy="31739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F5E0749-25EC-5126-6112-46F962C51BF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Texturiz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68991" y="3218922"/>
            <a:ext cx="841536" cy="24193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8076E49-E4B7-82EB-DF02-DBCBDD49428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Texturiz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34869" y="3926995"/>
            <a:ext cx="557852" cy="252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3563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>
            <a:extLst>
              <a:ext uri="{FF2B5EF4-FFF2-40B4-BE49-F238E27FC236}">
                <a16:creationId xmlns:a16="http://schemas.microsoft.com/office/drawing/2014/main" id="{38215165-EDF8-9093-2659-F48D83F9DAB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07219" y="501723"/>
            <a:ext cx="3855343" cy="12884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C3CB8BF-073D-219B-8AFF-6C86BF8C1ABD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21393" y="-9848"/>
            <a:ext cx="7289658" cy="4480249"/>
          </a:xfrm>
          <a:custGeom>
            <a:avLst/>
            <a:gdLst>
              <a:gd name="connsiteX0" fmla="*/ 0 w 11151018"/>
              <a:gd name="connsiteY0" fmla="*/ 0 h 2504122"/>
              <a:gd name="connsiteX1" fmla="*/ 11151018 w 11151018"/>
              <a:gd name="connsiteY1" fmla="*/ 0 h 2504122"/>
              <a:gd name="connsiteX2" fmla="*/ 11151018 w 11151018"/>
              <a:gd name="connsiteY2" fmla="*/ 2504122 h 2504122"/>
              <a:gd name="connsiteX3" fmla="*/ 0 w 11151018"/>
              <a:gd name="connsiteY3" fmla="*/ 2504122 h 2504122"/>
              <a:gd name="connsiteX4" fmla="*/ 0 w 11151018"/>
              <a:gd name="connsiteY4" fmla="*/ 0 h 2504122"/>
              <a:gd name="connsiteX0" fmla="*/ 5704114 w 11151018"/>
              <a:gd name="connsiteY0" fmla="*/ 0 h 2518636"/>
              <a:gd name="connsiteX1" fmla="*/ 11151018 w 11151018"/>
              <a:gd name="connsiteY1" fmla="*/ 14514 h 2518636"/>
              <a:gd name="connsiteX2" fmla="*/ 11151018 w 11151018"/>
              <a:gd name="connsiteY2" fmla="*/ 2518636 h 2518636"/>
              <a:gd name="connsiteX3" fmla="*/ 0 w 11151018"/>
              <a:gd name="connsiteY3" fmla="*/ 2518636 h 2518636"/>
              <a:gd name="connsiteX4" fmla="*/ 5704114 w 11151018"/>
              <a:gd name="connsiteY4" fmla="*/ 0 h 2518636"/>
              <a:gd name="connsiteX0" fmla="*/ 2365828 w 7812732"/>
              <a:gd name="connsiteY0" fmla="*/ 0 h 2562178"/>
              <a:gd name="connsiteX1" fmla="*/ 7812732 w 7812732"/>
              <a:gd name="connsiteY1" fmla="*/ 14514 h 2562178"/>
              <a:gd name="connsiteX2" fmla="*/ 7812732 w 7812732"/>
              <a:gd name="connsiteY2" fmla="*/ 2518636 h 2562178"/>
              <a:gd name="connsiteX3" fmla="*/ 0 w 7812732"/>
              <a:gd name="connsiteY3" fmla="*/ 2562178 h 2562178"/>
              <a:gd name="connsiteX4" fmla="*/ 2365828 w 7812732"/>
              <a:gd name="connsiteY4" fmla="*/ 0 h 2562178"/>
              <a:gd name="connsiteX0" fmla="*/ 2046514 w 7812732"/>
              <a:gd name="connsiteY0" fmla="*/ 0 h 2547664"/>
              <a:gd name="connsiteX1" fmla="*/ 7812732 w 7812732"/>
              <a:gd name="connsiteY1" fmla="*/ 0 h 2547664"/>
              <a:gd name="connsiteX2" fmla="*/ 7812732 w 7812732"/>
              <a:gd name="connsiteY2" fmla="*/ 2504122 h 2547664"/>
              <a:gd name="connsiteX3" fmla="*/ 0 w 7812732"/>
              <a:gd name="connsiteY3" fmla="*/ 2547664 h 2547664"/>
              <a:gd name="connsiteX4" fmla="*/ 2046514 w 7812732"/>
              <a:gd name="connsiteY4" fmla="*/ 0 h 2547664"/>
              <a:gd name="connsiteX0" fmla="*/ 2046514 w 7812732"/>
              <a:gd name="connsiteY0" fmla="*/ 0 h 2547664"/>
              <a:gd name="connsiteX1" fmla="*/ 7812732 w 7812732"/>
              <a:gd name="connsiteY1" fmla="*/ 0 h 2547664"/>
              <a:gd name="connsiteX2" fmla="*/ 7799085 w 7812732"/>
              <a:gd name="connsiteY2" fmla="*/ 1650076 h 2547664"/>
              <a:gd name="connsiteX3" fmla="*/ 0 w 7812732"/>
              <a:gd name="connsiteY3" fmla="*/ 2547664 h 2547664"/>
              <a:gd name="connsiteX4" fmla="*/ 2046514 w 7812732"/>
              <a:gd name="connsiteY4" fmla="*/ 0 h 2547664"/>
              <a:gd name="connsiteX0" fmla="*/ 2824391 w 7812732"/>
              <a:gd name="connsiteY0" fmla="*/ 0 h 2547664"/>
              <a:gd name="connsiteX1" fmla="*/ 7812732 w 7812732"/>
              <a:gd name="connsiteY1" fmla="*/ 0 h 2547664"/>
              <a:gd name="connsiteX2" fmla="*/ 7799085 w 7812732"/>
              <a:gd name="connsiteY2" fmla="*/ 1650076 h 2547664"/>
              <a:gd name="connsiteX3" fmla="*/ 0 w 7812732"/>
              <a:gd name="connsiteY3" fmla="*/ 2547664 h 2547664"/>
              <a:gd name="connsiteX4" fmla="*/ 2824391 w 7812732"/>
              <a:gd name="connsiteY4" fmla="*/ 0 h 2547664"/>
              <a:gd name="connsiteX0" fmla="*/ 2537805 w 7812732"/>
              <a:gd name="connsiteY0" fmla="*/ 0 h 2569377"/>
              <a:gd name="connsiteX1" fmla="*/ 7812732 w 7812732"/>
              <a:gd name="connsiteY1" fmla="*/ 21713 h 2569377"/>
              <a:gd name="connsiteX2" fmla="*/ 7799085 w 7812732"/>
              <a:gd name="connsiteY2" fmla="*/ 1671789 h 2569377"/>
              <a:gd name="connsiteX3" fmla="*/ 0 w 7812732"/>
              <a:gd name="connsiteY3" fmla="*/ 2569377 h 2569377"/>
              <a:gd name="connsiteX4" fmla="*/ 2537805 w 7812732"/>
              <a:gd name="connsiteY4" fmla="*/ 0 h 2569377"/>
              <a:gd name="connsiteX0" fmla="*/ 2537805 w 7822967"/>
              <a:gd name="connsiteY0" fmla="*/ 0 h 2569377"/>
              <a:gd name="connsiteX1" fmla="*/ 7822967 w 7822967"/>
              <a:gd name="connsiteY1" fmla="*/ 5289 h 2569377"/>
              <a:gd name="connsiteX2" fmla="*/ 7799085 w 7822967"/>
              <a:gd name="connsiteY2" fmla="*/ 1671789 h 2569377"/>
              <a:gd name="connsiteX3" fmla="*/ 0 w 7822967"/>
              <a:gd name="connsiteY3" fmla="*/ 2569377 h 2569377"/>
              <a:gd name="connsiteX4" fmla="*/ 2537805 w 7822967"/>
              <a:gd name="connsiteY4" fmla="*/ 0 h 2569377"/>
              <a:gd name="connsiteX0" fmla="*/ 2537805 w 7833202"/>
              <a:gd name="connsiteY0" fmla="*/ 5660 h 2575037"/>
              <a:gd name="connsiteX1" fmla="*/ 7833202 w 7833202"/>
              <a:gd name="connsiteY1" fmla="*/ 0 h 2575037"/>
              <a:gd name="connsiteX2" fmla="*/ 7799085 w 7833202"/>
              <a:gd name="connsiteY2" fmla="*/ 1677449 h 2575037"/>
              <a:gd name="connsiteX3" fmla="*/ 0 w 7833202"/>
              <a:gd name="connsiteY3" fmla="*/ 2575037 h 2575037"/>
              <a:gd name="connsiteX4" fmla="*/ 2537805 w 7833202"/>
              <a:gd name="connsiteY4" fmla="*/ 5660 h 2575037"/>
              <a:gd name="connsiteX0" fmla="*/ 2537805 w 7833202"/>
              <a:gd name="connsiteY0" fmla="*/ 5660 h 2575037"/>
              <a:gd name="connsiteX1" fmla="*/ 7833202 w 7833202"/>
              <a:gd name="connsiteY1" fmla="*/ 0 h 2575037"/>
              <a:gd name="connsiteX2" fmla="*/ 7819556 w 7833202"/>
              <a:gd name="connsiteY2" fmla="*/ 1688398 h 2575037"/>
              <a:gd name="connsiteX3" fmla="*/ 0 w 7833202"/>
              <a:gd name="connsiteY3" fmla="*/ 2575037 h 2575037"/>
              <a:gd name="connsiteX4" fmla="*/ 2537805 w 7833202"/>
              <a:gd name="connsiteY4" fmla="*/ 5660 h 2575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33202" h="2575037">
                <a:moveTo>
                  <a:pt x="2537805" y="5660"/>
                </a:moveTo>
                <a:lnTo>
                  <a:pt x="7833202" y="0"/>
                </a:lnTo>
                <a:lnTo>
                  <a:pt x="7819556" y="1688398"/>
                </a:lnTo>
                <a:lnTo>
                  <a:pt x="0" y="2575037"/>
                </a:lnTo>
                <a:lnTo>
                  <a:pt x="2537805" y="566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</a:pPr>
            <a:endParaRPr lang="en-DE" sz="1600" err="1">
              <a:solidFill>
                <a:schemeClr val="tx1"/>
              </a:solidFill>
            </a:endParaRP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DC8FCEB9-B034-E1B3-1033-A0A0A4A1BF4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925246" y="232453"/>
            <a:ext cx="334258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BearingPoint Sans Latin" panose="00000800000000000000" pitchFamily="50" charset="0"/>
              </a:rPr>
              <a:t>Know Your Spend</a:t>
            </a:r>
            <a:endParaRPr lang="en-DE" sz="2400" b="1">
              <a:solidFill>
                <a:schemeClr val="bg1"/>
              </a:solidFill>
              <a:latin typeface="BearingPoint Sans Latin" panose="00000800000000000000" pitchFamily="50" charset="0"/>
            </a:endParaRPr>
          </a:p>
        </p:txBody>
      </p:sp>
      <p:grpSp>
        <p:nvGrpSpPr>
          <p:cNvPr id="12" name="Group 40">
            <a:extLst>
              <a:ext uri="{FF2B5EF4-FFF2-40B4-BE49-F238E27FC236}">
                <a16:creationId xmlns:a16="http://schemas.microsoft.com/office/drawing/2014/main" id="{9E231403-F127-227C-B66A-360B70326EDD}"/>
              </a:ext>
            </a:extLst>
          </p:cNvPr>
          <p:cNvGrpSpPr/>
          <p:nvPr/>
        </p:nvGrpSpPr>
        <p:grpSpPr>
          <a:xfrm>
            <a:off x="5848804" y="3678856"/>
            <a:ext cx="2699207" cy="1606280"/>
            <a:chOff x="5453696" y="3751987"/>
            <a:chExt cx="2699207" cy="1606280"/>
          </a:xfrm>
        </p:grpSpPr>
        <p:sp>
          <p:nvSpPr>
            <p:cNvPr id="13" name="Oval 8">
              <a:extLst>
                <a:ext uri="{FF2B5EF4-FFF2-40B4-BE49-F238E27FC236}">
                  <a16:creationId xmlns:a16="http://schemas.microsoft.com/office/drawing/2014/main" id="{FA6B0D4D-CDF0-A58E-3083-4B4326A297C2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6008900" y="3751987"/>
              <a:ext cx="1606280" cy="160628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30000"/>
                </a:lnSpc>
              </a:pPr>
              <a:endParaRPr lang="en-DE" sz="1600" err="1">
                <a:solidFill>
                  <a:schemeClr val="tx1"/>
                </a:solidFill>
              </a:endParaRPr>
            </a:p>
          </p:txBody>
        </p:sp>
        <p:sp>
          <p:nvSpPr>
            <p:cNvPr id="14" name="TextBox 12">
              <a:extLst>
                <a:ext uri="{FF2B5EF4-FFF2-40B4-BE49-F238E27FC236}">
                  <a16:creationId xmlns:a16="http://schemas.microsoft.com/office/drawing/2014/main" id="{9A267124-296E-FA2B-9390-3967F51B8AD1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453696" y="3849904"/>
              <a:ext cx="2699207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800" b="1">
                  <a:solidFill>
                    <a:schemeClr val="bg2"/>
                  </a:solidFill>
                  <a:latin typeface="BearingPoint Sans Cyrillic" panose="00000800000000000000" pitchFamily="50" charset="0"/>
                </a:rPr>
                <a:t> 100%</a:t>
              </a:r>
              <a:endParaRPr lang="en-US" sz="2800" b="1">
                <a:solidFill>
                  <a:schemeClr val="accent6"/>
                </a:solidFill>
                <a:latin typeface="BearingPoint Sans Cyrillic" panose="00000800000000000000" pitchFamily="50" charset="0"/>
              </a:endParaRPr>
            </a:p>
            <a:p>
              <a:pPr algn="ctr"/>
              <a:r>
                <a:rPr lang="en-US" sz="1600" b="1">
                  <a:solidFill>
                    <a:schemeClr val="accent6"/>
                  </a:solidFill>
                  <a:latin typeface="BearingPoint Sans Cyrillic" panose="00000800000000000000" pitchFamily="50" charset="0"/>
                </a:rPr>
                <a:t>spend</a:t>
              </a:r>
              <a:br>
                <a:rPr lang="en-US" sz="1600" b="1">
                  <a:solidFill>
                    <a:schemeClr val="accent6"/>
                  </a:solidFill>
                  <a:latin typeface="BearingPoint Sans Cyrillic" panose="00000800000000000000" pitchFamily="50" charset="0"/>
                </a:rPr>
              </a:br>
              <a:r>
                <a:rPr lang="en-US" sz="1600" b="1">
                  <a:solidFill>
                    <a:schemeClr val="accent6"/>
                  </a:solidFill>
                  <a:latin typeface="BearingPoint Sans Cyrillic" panose="00000800000000000000" pitchFamily="50" charset="0"/>
                </a:rPr>
                <a:t>transparency</a:t>
              </a:r>
              <a:endParaRPr lang="en-DE" sz="2800" b="1">
                <a:solidFill>
                  <a:schemeClr val="accent6"/>
                </a:solidFill>
                <a:latin typeface="BearingPoint Sans Cyrillic" panose="00000800000000000000" pitchFamily="50" charset="0"/>
              </a:endParaRPr>
            </a:p>
          </p:txBody>
        </p:sp>
      </p:grpSp>
      <p:grpSp>
        <p:nvGrpSpPr>
          <p:cNvPr id="15" name="Group 39">
            <a:extLst>
              <a:ext uri="{FF2B5EF4-FFF2-40B4-BE49-F238E27FC236}">
                <a16:creationId xmlns:a16="http://schemas.microsoft.com/office/drawing/2014/main" id="{005C2F8B-FD34-7407-1C87-65693B12D012}"/>
              </a:ext>
            </a:extLst>
          </p:cNvPr>
          <p:cNvGrpSpPr/>
          <p:nvPr/>
        </p:nvGrpSpPr>
        <p:grpSpPr>
          <a:xfrm>
            <a:off x="7999987" y="3161639"/>
            <a:ext cx="2038151" cy="1606280"/>
            <a:chOff x="7946999" y="3747571"/>
            <a:chExt cx="2038151" cy="1606280"/>
          </a:xfrm>
        </p:grpSpPr>
        <p:sp>
          <p:nvSpPr>
            <p:cNvPr id="16" name="Oval 10">
              <a:extLst>
                <a:ext uri="{FF2B5EF4-FFF2-40B4-BE49-F238E27FC236}">
                  <a16:creationId xmlns:a16="http://schemas.microsoft.com/office/drawing/2014/main" id="{3D7ABA91-3ADB-AE45-3D46-0781B4F1BC64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8163413" y="3747571"/>
              <a:ext cx="1606280" cy="1606280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30000"/>
                </a:lnSpc>
              </a:pPr>
              <a:endParaRPr lang="en-DE" sz="1600" err="1">
                <a:solidFill>
                  <a:schemeClr val="tx1"/>
                </a:solidFill>
              </a:endParaRPr>
            </a:p>
          </p:txBody>
        </p:sp>
        <p:sp>
          <p:nvSpPr>
            <p:cNvPr id="17" name="TextBox 12">
              <a:extLst>
                <a:ext uri="{FF2B5EF4-FFF2-40B4-BE49-F238E27FC236}">
                  <a16:creationId xmlns:a16="http://schemas.microsoft.com/office/drawing/2014/main" id="{BCDAEE84-DDE3-AC94-EFD1-8DED67F49C04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7946999" y="3870153"/>
              <a:ext cx="2038151" cy="11772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>
                  <a:solidFill>
                    <a:schemeClr val="accent4"/>
                  </a:solidFill>
                  <a:latin typeface="BearingPoint Sans Cyrillic" panose="00000800000000000000" pitchFamily="50" charset="0"/>
                </a:rPr>
                <a:t>Client Use Case</a:t>
              </a:r>
              <a:br>
                <a:rPr lang="en-US" sz="1400">
                  <a:solidFill>
                    <a:schemeClr val="accent6"/>
                  </a:solidFill>
                  <a:latin typeface="BearingPoint Sans Cyrillic" panose="00000800000000000000" pitchFamily="50" charset="0"/>
                </a:rPr>
              </a:br>
              <a:r>
                <a:rPr lang="en-US" sz="2800" b="1">
                  <a:solidFill>
                    <a:schemeClr val="bg2"/>
                  </a:solidFill>
                  <a:latin typeface="BearingPoint Sans Cyrillic" panose="00000800000000000000" pitchFamily="50" charset="0"/>
                </a:rPr>
                <a:t>7M€ </a:t>
              </a:r>
              <a:br>
                <a:rPr lang="en-US" sz="2800" b="1">
                  <a:solidFill>
                    <a:schemeClr val="bg2"/>
                  </a:solidFill>
                  <a:latin typeface="BearingPoint Sans Cyrillic" panose="00000800000000000000" pitchFamily="50" charset="0"/>
                </a:rPr>
              </a:br>
              <a:r>
                <a:rPr lang="en-US" sz="1600" b="1">
                  <a:solidFill>
                    <a:schemeClr val="accent6"/>
                  </a:solidFill>
                  <a:latin typeface="BearingPoint Sans Cyrillic" panose="00000800000000000000" pitchFamily="50" charset="0"/>
                </a:rPr>
                <a:t>potential savings </a:t>
              </a:r>
              <a:br>
                <a:rPr lang="en-US" sz="1600" b="1">
                  <a:solidFill>
                    <a:schemeClr val="accent6"/>
                  </a:solidFill>
                  <a:latin typeface="BearingPoint Sans Cyrillic" panose="00000800000000000000" pitchFamily="50" charset="0"/>
                </a:rPr>
              </a:br>
              <a:r>
                <a:rPr lang="en-US" sz="1600" b="1">
                  <a:solidFill>
                    <a:schemeClr val="accent6"/>
                  </a:solidFill>
                  <a:latin typeface="BearingPoint Sans Cyrillic" panose="00000800000000000000" pitchFamily="50" charset="0"/>
                </a:rPr>
                <a:t>identified</a:t>
              </a:r>
              <a:endParaRPr lang="en-DE" sz="2800" b="1">
                <a:solidFill>
                  <a:schemeClr val="accent6"/>
                </a:solidFill>
                <a:latin typeface="BearingPoint Sans Cyrillic" panose="00000800000000000000" pitchFamily="50" charset="0"/>
              </a:endParaRPr>
            </a:p>
          </p:txBody>
        </p:sp>
      </p:grpSp>
      <p:grpSp>
        <p:nvGrpSpPr>
          <p:cNvPr id="18" name="Group 38">
            <a:extLst>
              <a:ext uri="{FF2B5EF4-FFF2-40B4-BE49-F238E27FC236}">
                <a16:creationId xmlns:a16="http://schemas.microsoft.com/office/drawing/2014/main" id="{B9DC758C-9F7F-1BA9-6460-477922C61B90}"/>
              </a:ext>
            </a:extLst>
          </p:cNvPr>
          <p:cNvGrpSpPr/>
          <p:nvPr/>
        </p:nvGrpSpPr>
        <p:grpSpPr>
          <a:xfrm>
            <a:off x="9947149" y="2671362"/>
            <a:ext cx="2038151" cy="1606280"/>
            <a:chOff x="10101990" y="3757011"/>
            <a:chExt cx="2038151" cy="1606280"/>
          </a:xfrm>
        </p:grpSpPr>
        <p:sp>
          <p:nvSpPr>
            <p:cNvPr id="19" name="Oval 11">
              <a:extLst>
                <a:ext uri="{FF2B5EF4-FFF2-40B4-BE49-F238E27FC236}">
                  <a16:creationId xmlns:a16="http://schemas.microsoft.com/office/drawing/2014/main" id="{89E542A4-0C58-4B12-E6BB-25B7BE9D73B6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10317926" y="3757011"/>
              <a:ext cx="1606280" cy="1606280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30000"/>
                </a:lnSpc>
              </a:pPr>
              <a:endParaRPr lang="en-DE" sz="1600" err="1">
                <a:solidFill>
                  <a:schemeClr val="tx1"/>
                </a:solidFill>
              </a:endParaRPr>
            </a:p>
          </p:txBody>
        </p:sp>
        <p:sp>
          <p:nvSpPr>
            <p:cNvPr id="20" name="TextBox 12">
              <a:extLst>
                <a:ext uri="{FF2B5EF4-FFF2-40B4-BE49-F238E27FC236}">
                  <a16:creationId xmlns:a16="http://schemas.microsoft.com/office/drawing/2014/main" id="{6F1DDA12-5C52-A29D-CDB5-E000EB6FE0C4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10101990" y="3912535"/>
              <a:ext cx="2038151" cy="11695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>
                  <a:solidFill>
                    <a:schemeClr val="accent4"/>
                  </a:solidFill>
                  <a:latin typeface="BearingPoint Sans Cyrillic" panose="00000800000000000000" pitchFamily="50" charset="0"/>
                </a:rPr>
                <a:t>Client Use Case</a:t>
              </a:r>
            </a:p>
            <a:p>
              <a:pPr algn="ctr"/>
              <a:r>
                <a:rPr lang="en-US" sz="1000" i="1">
                  <a:solidFill>
                    <a:schemeClr val="accent4"/>
                  </a:solidFill>
                  <a:latin typeface="BearingPoint Sans Cyrillic" panose="00000800000000000000" pitchFamily="50" charset="0"/>
                </a:rPr>
                <a:t> </a:t>
              </a:r>
              <a:r>
                <a:rPr lang="en-US" sz="2800" b="1">
                  <a:solidFill>
                    <a:schemeClr val="bg2"/>
                  </a:solidFill>
                  <a:latin typeface="BearingPoint Sans Cyrillic" panose="00000800000000000000" pitchFamily="50" charset="0"/>
                </a:rPr>
                <a:t>16k PD </a:t>
              </a:r>
              <a:br>
                <a:rPr lang="en-US" sz="2800" b="1">
                  <a:solidFill>
                    <a:schemeClr val="bg2"/>
                  </a:solidFill>
                  <a:latin typeface="BearingPoint Sans Cyrillic" panose="00000800000000000000" pitchFamily="50" charset="0"/>
                </a:rPr>
              </a:br>
              <a:r>
                <a:rPr lang="en-US" sz="1600" b="1">
                  <a:solidFill>
                    <a:schemeClr val="accent6"/>
                  </a:solidFill>
                  <a:latin typeface="BearingPoint Sans Cyrillic" panose="00000800000000000000" pitchFamily="50" charset="0"/>
                </a:rPr>
                <a:t>workload </a:t>
              </a:r>
              <a:br>
                <a:rPr lang="en-US" sz="1600" b="1">
                  <a:solidFill>
                    <a:schemeClr val="accent6"/>
                  </a:solidFill>
                  <a:latin typeface="BearingPoint Sans Cyrillic" panose="00000800000000000000" pitchFamily="50" charset="0"/>
                </a:rPr>
              </a:br>
              <a:r>
                <a:rPr lang="en-US" sz="1600" b="1">
                  <a:solidFill>
                    <a:schemeClr val="accent6"/>
                  </a:solidFill>
                  <a:latin typeface="BearingPoint Sans Cyrillic" panose="00000800000000000000" pitchFamily="50" charset="0"/>
                </a:rPr>
                <a:t>reduced</a:t>
              </a:r>
            </a:p>
          </p:txBody>
        </p:sp>
      </p:grpSp>
      <p:cxnSp>
        <p:nvCxnSpPr>
          <p:cNvPr id="21" name="Straight Connector 43">
            <a:extLst>
              <a:ext uri="{FF2B5EF4-FFF2-40B4-BE49-F238E27FC236}">
                <a16:creationId xmlns:a16="http://schemas.microsoft.com/office/drawing/2014/main" id="{F8C3B2F6-0223-70AA-B06A-9DC77DA421E9}"/>
              </a:ext>
            </a:extLst>
          </p:cNvPr>
          <p:cNvCxnSpPr>
            <a:cxnSpLocks/>
          </p:cNvCxnSpPr>
          <p:nvPr/>
        </p:nvCxnSpPr>
        <p:spPr>
          <a:xfrm flipV="1">
            <a:off x="5606224" y="325585"/>
            <a:ext cx="2000451" cy="3836973"/>
          </a:xfrm>
          <a:prstGeom prst="line">
            <a:avLst/>
          </a:prstGeom>
          <a:ln w="28575">
            <a:solidFill>
              <a:schemeClr val="bg1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45">
            <a:extLst>
              <a:ext uri="{FF2B5EF4-FFF2-40B4-BE49-F238E27FC236}">
                <a16:creationId xmlns:a16="http://schemas.microsoft.com/office/drawing/2014/main" id="{282BE974-8355-88BC-C3D0-CA26DC8EE8E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365797" y="1154689"/>
            <a:ext cx="33425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BearingPoint Sans Latin" panose="00000800000000000000" pitchFamily="50" charset="0"/>
              </a:rPr>
              <a:t>Identify Saving  Opportunities</a:t>
            </a:r>
          </a:p>
        </p:txBody>
      </p:sp>
      <p:sp>
        <p:nvSpPr>
          <p:cNvPr id="23" name="TextBox 46">
            <a:extLst>
              <a:ext uri="{FF2B5EF4-FFF2-40B4-BE49-F238E27FC236}">
                <a16:creationId xmlns:a16="http://schemas.microsoft.com/office/drawing/2014/main" id="{8876A118-BE90-BA51-2125-066CEC97F1F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5429" y="2337620"/>
            <a:ext cx="334258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BearingPoint Sans Latin" panose="00000800000000000000" pitchFamily="50" charset="0"/>
              </a:rPr>
              <a:t>Reduce Cost</a:t>
            </a:r>
            <a:endParaRPr lang="en-DE" sz="2400" b="1">
              <a:solidFill>
                <a:schemeClr val="bg1"/>
              </a:solidFill>
              <a:latin typeface="BearingPoint Sans Latin" panose="00000800000000000000" pitchFamily="50" charset="0"/>
            </a:endParaRPr>
          </a:p>
        </p:txBody>
      </p:sp>
      <p:sp>
        <p:nvSpPr>
          <p:cNvPr id="24" name="Oval 58">
            <a:extLst>
              <a:ext uri="{FF2B5EF4-FFF2-40B4-BE49-F238E27FC236}">
                <a16:creationId xmlns:a16="http://schemas.microsoft.com/office/drawing/2014/main" id="{13D39A5D-E39B-D649-EB99-031DD0C8F82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59189" y="310359"/>
            <a:ext cx="246862" cy="246862"/>
          </a:xfrm>
          <a:prstGeom prst="ellipse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</a:pPr>
            <a:endParaRPr lang="en-DE" sz="1600" err="1">
              <a:solidFill>
                <a:schemeClr val="tx1"/>
              </a:solidFill>
            </a:endParaRPr>
          </a:p>
        </p:txBody>
      </p:sp>
      <p:sp>
        <p:nvSpPr>
          <p:cNvPr id="25" name="Oval 59">
            <a:extLst>
              <a:ext uri="{FF2B5EF4-FFF2-40B4-BE49-F238E27FC236}">
                <a16:creationId xmlns:a16="http://schemas.microsoft.com/office/drawing/2014/main" id="{E306BA72-6DE7-7DB7-009E-A3559BCF489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890381" y="1365482"/>
            <a:ext cx="246862" cy="246862"/>
          </a:xfrm>
          <a:prstGeom prst="ellipse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</a:pPr>
            <a:endParaRPr lang="en-DE" sz="1600" err="1">
              <a:solidFill>
                <a:schemeClr val="tx1"/>
              </a:solidFill>
            </a:endParaRPr>
          </a:p>
        </p:txBody>
      </p:sp>
      <p:sp>
        <p:nvSpPr>
          <p:cNvPr id="26" name="Oval 60">
            <a:extLst>
              <a:ext uri="{FF2B5EF4-FFF2-40B4-BE49-F238E27FC236}">
                <a16:creationId xmlns:a16="http://schemas.microsoft.com/office/drawing/2014/main" id="{20163C4B-CD77-5F5A-15B4-92E7F9C1E76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333569" y="2421473"/>
            <a:ext cx="246862" cy="246862"/>
          </a:xfrm>
          <a:prstGeom prst="ellipse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</a:pPr>
            <a:endParaRPr lang="en-DE" sz="1600" err="1">
              <a:solidFill>
                <a:schemeClr val="tx1"/>
              </a:solidFill>
            </a:endParaRPr>
          </a:p>
        </p:txBody>
      </p:sp>
      <p:grpSp>
        <p:nvGrpSpPr>
          <p:cNvPr id="27" name="Gruppieren 2">
            <a:extLst>
              <a:ext uri="{FF2B5EF4-FFF2-40B4-BE49-F238E27FC236}">
                <a16:creationId xmlns:a16="http://schemas.microsoft.com/office/drawing/2014/main" id="{783358A4-D910-1C8F-24C5-DC2279769976}"/>
              </a:ext>
            </a:extLst>
          </p:cNvPr>
          <p:cNvGrpSpPr/>
          <p:nvPr/>
        </p:nvGrpSpPr>
        <p:grpSpPr>
          <a:xfrm>
            <a:off x="776882" y="2399877"/>
            <a:ext cx="5438520" cy="2774535"/>
            <a:chOff x="3292450" y="1478455"/>
            <a:chExt cx="5737680" cy="2927159"/>
          </a:xfrm>
          <a:solidFill>
            <a:schemeClr val="bg1"/>
          </a:solidFill>
        </p:grpSpPr>
        <p:pic>
          <p:nvPicPr>
            <p:cNvPr id="28" name="Picture 122">
              <a:extLst>
                <a:ext uri="{FF2B5EF4-FFF2-40B4-BE49-F238E27FC236}">
                  <a16:creationId xmlns:a16="http://schemas.microsoft.com/office/drawing/2014/main" id="{A82672F1-77AF-965A-50AA-18EFA7FC78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950579" y="1616939"/>
              <a:ext cx="4469858" cy="2516942"/>
            </a:xfrm>
            <a:prstGeom prst="rect">
              <a:avLst/>
            </a:prstGeom>
            <a:grpFill/>
          </p:spPr>
        </p:pic>
        <p:pic>
          <p:nvPicPr>
            <p:cNvPr id="29" name="Grafik 33">
              <a:extLst>
                <a:ext uri="{FF2B5EF4-FFF2-40B4-BE49-F238E27FC236}">
                  <a16:creationId xmlns:a16="http://schemas.microsoft.com/office/drawing/2014/main" id="{8C96CA38-D17A-5D32-FDD7-A4446B963111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9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292450" y="1478455"/>
              <a:ext cx="5737680" cy="2927159"/>
            </a:xfrm>
            <a:custGeom>
              <a:avLst/>
              <a:gdLst>
                <a:gd name="connsiteX0" fmla="*/ 872369 w 7484564"/>
                <a:gd name="connsiteY0" fmla="*/ 216024 h 4248000"/>
                <a:gd name="connsiteX1" fmla="*/ 872369 w 7484564"/>
                <a:gd name="connsiteY1" fmla="*/ 3829123 h 4248000"/>
                <a:gd name="connsiteX2" fmla="*/ 6668369 w 7484564"/>
                <a:gd name="connsiteY2" fmla="*/ 3829123 h 4248000"/>
                <a:gd name="connsiteX3" fmla="*/ 6668369 w 7484564"/>
                <a:gd name="connsiteY3" fmla="*/ 216024 h 4248000"/>
                <a:gd name="connsiteX4" fmla="*/ 0 w 7484564"/>
                <a:gd name="connsiteY4" fmla="*/ 0 h 4248000"/>
                <a:gd name="connsiteX5" fmla="*/ 7484564 w 7484564"/>
                <a:gd name="connsiteY5" fmla="*/ 0 h 4248000"/>
                <a:gd name="connsiteX6" fmla="*/ 7484564 w 7484564"/>
                <a:gd name="connsiteY6" fmla="*/ 4248000 h 4248000"/>
                <a:gd name="connsiteX7" fmla="*/ 0 w 7484564"/>
                <a:gd name="connsiteY7" fmla="*/ 4248000 h 42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84564" h="4248000">
                  <a:moveTo>
                    <a:pt x="872369" y="216024"/>
                  </a:moveTo>
                  <a:lnTo>
                    <a:pt x="872369" y="3829123"/>
                  </a:lnTo>
                  <a:lnTo>
                    <a:pt x="6668369" y="3829123"/>
                  </a:lnTo>
                  <a:lnTo>
                    <a:pt x="6668369" y="216024"/>
                  </a:lnTo>
                  <a:close/>
                  <a:moveTo>
                    <a:pt x="0" y="0"/>
                  </a:moveTo>
                  <a:lnTo>
                    <a:pt x="7484564" y="0"/>
                  </a:lnTo>
                  <a:lnTo>
                    <a:pt x="7484564" y="4248000"/>
                  </a:lnTo>
                  <a:lnTo>
                    <a:pt x="0" y="4248000"/>
                  </a:lnTo>
                  <a:close/>
                </a:path>
              </a:pathLst>
            </a:custGeom>
            <a:noFill/>
          </p:spPr>
        </p:pic>
      </p:grpSp>
      <p:sp>
        <p:nvSpPr>
          <p:cNvPr id="35" name="Rectangle 5">
            <a:extLst>
              <a:ext uri="{FF2B5EF4-FFF2-40B4-BE49-F238E27FC236}">
                <a16:creationId xmlns:a16="http://schemas.microsoft.com/office/drawing/2014/main" id="{292A7892-B9A7-8D29-110C-1CE3F0A1393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" y="-9527"/>
            <a:ext cx="175844" cy="6876000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93000">
                <a:schemeClr val="accent1">
                  <a:alpha val="85000"/>
                </a:schemeClr>
              </a:gs>
            </a:gsLst>
            <a:lin ang="27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9475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8951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58426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77900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97375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6851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36326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55801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90546">
              <a:defRPr/>
            </a:pPr>
            <a:endParaRPr lang="en-GB" sz="1951" kern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871883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D691D60-C708-BC28-A690-6D59336B2A3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AI-Driven </a:t>
            </a:r>
            <a:r>
              <a:rPr lang="de-DE" err="1"/>
              <a:t>Spend</a:t>
            </a:r>
            <a:r>
              <a:rPr lang="de-DE"/>
              <a:t> Analytics </a:t>
            </a:r>
            <a:r>
              <a:rPr lang="de-DE" err="1"/>
              <a:t>by</a:t>
            </a:r>
            <a:r>
              <a:rPr lang="de-DE"/>
              <a:t> BearingPoin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880420-3C11-F7B6-F1AA-ED6E3FFB29F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509481"/>
            <a:ext cx="10944225" cy="369334"/>
          </a:xfrm>
        </p:spPr>
        <p:txBody>
          <a:bodyPr>
            <a:normAutofit/>
          </a:bodyPr>
          <a:lstStyle/>
          <a:p>
            <a:r>
              <a:rPr lang="en-US"/>
              <a:t>Empower Procurement with Precision: Transform Data into Strategic Insights</a:t>
            </a:r>
            <a:endParaRPr lang="de-DE"/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CA1D0FF0-3CAF-03AB-A13D-3F70AC3F8E94}"/>
              </a:ext>
            </a:extLst>
          </p:cNvPr>
          <p:cNvGrpSpPr/>
          <p:nvPr/>
        </p:nvGrpSpPr>
        <p:grpSpPr>
          <a:xfrm>
            <a:off x="623887" y="1219669"/>
            <a:ext cx="10944225" cy="5128850"/>
            <a:chOff x="496081" y="1137834"/>
            <a:chExt cx="11271671" cy="5210685"/>
          </a:xfrm>
        </p:grpSpPr>
        <p:cxnSp>
          <p:nvCxnSpPr>
            <p:cNvPr id="5" name="Straight Connector 6">
              <a:extLst>
                <a:ext uri="{FF2B5EF4-FFF2-40B4-BE49-F238E27FC236}">
                  <a16:creationId xmlns:a16="http://schemas.microsoft.com/office/drawing/2014/main" id="{A5687741-3E4C-E0AB-47C0-1E2B4387ECB1}"/>
                </a:ext>
              </a:extLst>
            </p:cNvPr>
            <p:cNvCxnSpPr>
              <a:cxnSpLocks/>
            </p:cNvCxnSpPr>
            <p:nvPr/>
          </p:nvCxnSpPr>
          <p:spPr>
            <a:xfrm>
              <a:off x="6166203" y="3864378"/>
              <a:ext cx="1751835" cy="8458"/>
            </a:xfrm>
            <a:prstGeom prst="line">
              <a:avLst/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1">
              <a:extLst>
                <a:ext uri="{FF2B5EF4-FFF2-40B4-BE49-F238E27FC236}">
                  <a16:creationId xmlns:a16="http://schemas.microsoft.com/office/drawing/2014/main" id="{779540A8-100F-DA4A-BC3D-639E2CFBF94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43364" y="3872836"/>
              <a:ext cx="1643598" cy="0"/>
            </a:xfrm>
            <a:prstGeom prst="line">
              <a:avLst/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15">
              <a:extLst>
                <a:ext uri="{FF2B5EF4-FFF2-40B4-BE49-F238E27FC236}">
                  <a16:creationId xmlns:a16="http://schemas.microsoft.com/office/drawing/2014/main" id="{850BCA08-261C-7603-7715-66B0C9E6C3A2}"/>
                </a:ext>
              </a:extLst>
            </p:cNvPr>
            <p:cNvCxnSpPr>
              <a:cxnSpLocks/>
            </p:cNvCxnSpPr>
            <p:nvPr/>
          </p:nvCxnSpPr>
          <p:spPr>
            <a:xfrm>
              <a:off x="6251049" y="3864377"/>
              <a:ext cx="1318465" cy="1911000"/>
            </a:xfrm>
            <a:prstGeom prst="line">
              <a:avLst/>
            </a:prstGeom>
            <a:ln w="19050">
              <a:solidFill>
                <a:schemeClr val="bg2"/>
              </a:solidFill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118">
              <a:extLst>
                <a:ext uri="{FF2B5EF4-FFF2-40B4-BE49-F238E27FC236}">
                  <a16:creationId xmlns:a16="http://schemas.microsoft.com/office/drawing/2014/main" id="{870793D2-4E68-0A3B-53FD-39F49D8100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906590" y="3950064"/>
              <a:ext cx="1158265" cy="1815154"/>
            </a:xfrm>
            <a:prstGeom prst="line">
              <a:avLst/>
            </a:prstGeom>
            <a:ln w="19050">
              <a:solidFill>
                <a:schemeClr val="bg2"/>
              </a:solidFill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96">
              <a:extLst>
                <a:ext uri="{FF2B5EF4-FFF2-40B4-BE49-F238E27FC236}">
                  <a16:creationId xmlns:a16="http://schemas.microsoft.com/office/drawing/2014/main" id="{13213CA9-358E-B40E-5062-28E0D53042C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809969" y="1914881"/>
              <a:ext cx="1319254" cy="1805802"/>
            </a:xfrm>
            <a:prstGeom prst="line">
              <a:avLst/>
            </a:prstGeom>
            <a:ln w="19050">
              <a:solidFill>
                <a:schemeClr val="bg2"/>
              </a:solidFill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85">
              <a:extLst>
                <a:ext uri="{FF2B5EF4-FFF2-40B4-BE49-F238E27FC236}">
                  <a16:creationId xmlns:a16="http://schemas.microsoft.com/office/drawing/2014/main" id="{334D8F96-055B-9B77-A7E7-B83A36431C5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71463" y="1914881"/>
              <a:ext cx="1319254" cy="1997960"/>
            </a:xfrm>
            <a:prstGeom prst="line">
              <a:avLst/>
            </a:prstGeom>
            <a:ln w="19050">
              <a:solidFill>
                <a:schemeClr val="bg2"/>
              </a:solidFill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86">
              <a:extLst>
                <a:ext uri="{FF2B5EF4-FFF2-40B4-BE49-F238E27FC236}">
                  <a16:creationId xmlns:a16="http://schemas.microsoft.com/office/drawing/2014/main" id="{6388ACE2-EB9A-EF39-90CB-F1FBFE0EA975}"/>
                </a:ext>
              </a:extLst>
            </p:cNvPr>
            <p:cNvCxnSpPr>
              <a:cxnSpLocks/>
            </p:cNvCxnSpPr>
            <p:nvPr/>
          </p:nvCxnSpPr>
          <p:spPr>
            <a:xfrm>
              <a:off x="7590717" y="1914881"/>
              <a:ext cx="509242" cy="0"/>
            </a:xfrm>
            <a:prstGeom prst="line">
              <a:avLst/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hteck: abgerundete Ecken 24">
              <a:extLst>
                <a:ext uri="{FF2B5EF4-FFF2-40B4-BE49-F238E27FC236}">
                  <a16:creationId xmlns:a16="http://schemas.microsoft.com/office/drawing/2014/main" id="{094724AE-F943-F7E5-DC43-7483A02921FC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724336" y="4877433"/>
              <a:ext cx="3275960" cy="1471086"/>
            </a:xfrm>
            <a:prstGeom prst="roundRect">
              <a:avLst>
                <a:gd name="adj" fmla="val 10824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288000" rIns="36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13" name="Textfeld 23">
              <a:extLst>
                <a:ext uri="{FF2B5EF4-FFF2-40B4-BE49-F238E27FC236}">
                  <a16:creationId xmlns:a16="http://schemas.microsoft.com/office/drawing/2014/main" id="{C0A9F3BA-A9FA-7394-8E09-C30A16C5F0BD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>
            <a:xfrm>
              <a:off x="547153" y="4712178"/>
              <a:ext cx="3490719" cy="45408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accent2"/>
                </a:gs>
                <a:gs pos="93000">
                  <a:schemeClr val="accent1">
                    <a:alpha val="80000"/>
                  </a:schemeClr>
                </a:gs>
              </a:gsLst>
              <a:lin ang="2700000" scaled="0"/>
            </a:gradFill>
            <a:ln>
              <a:noFill/>
            </a:ln>
          </p:spPr>
          <p:txBody>
            <a:bodyPr wrap="square" lIns="252000" rtlCol="0" anchor="ctr">
              <a:spAutoFit/>
            </a:bodyPr>
            <a:lstStyle/>
            <a:p>
              <a:pPr defTabSz="519488"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</a:t>
              </a:r>
              <a:r>
                <a:rPr lang="en-US" sz="1100" b="1">
                  <a:solidFill>
                    <a:schemeClr val="bg1"/>
                  </a:solidFill>
                  <a:latin typeface="Calibri"/>
                </a:rPr>
                <a:t>Supplier Harmonisation</a:t>
              </a:r>
            </a:p>
          </p:txBody>
        </p:sp>
        <p:sp>
          <p:nvSpPr>
            <p:cNvPr id="14" name="Oval 27">
              <a:extLst>
                <a:ext uri="{FF2B5EF4-FFF2-40B4-BE49-F238E27FC236}">
                  <a16:creationId xmlns:a16="http://schemas.microsoft.com/office/drawing/2014/main" id="{B67CAD3A-EF0D-8EFD-EEB2-45EE49C88D1D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543458" y="4714368"/>
              <a:ext cx="442133" cy="43279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err="1">
                <a:solidFill>
                  <a:schemeClr val="tx1"/>
                </a:solidFill>
              </a:endParaRPr>
            </a:p>
          </p:txBody>
        </p:sp>
        <p:sp>
          <p:nvSpPr>
            <p:cNvPr id="15" name="Rechteck: abgerundete Ecken 24">
              <a:extLst>
                <a:ext uri="{FF2B5EF4-FFF2-40B4-BE49-F238E27FC236}">
                  <a16:creationId xmlns:a16="http://schemas.microsoft.com/office/drawing/2014/main" id="{E827FBA8-DAE0-C04F-F881-CCD1C4797E51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771891" y="1353795"/>
              <a:ext cx="3275960" cy="1332909"/>
            </a:xfrm>
            <a:prstGeom prst="roundRect">
              <a:avLst>
                <a:gd name="adj" fmla="val 6255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288000" rIns="36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125EB284-AFE6-A7D6-2DEF-76BC265485EB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787326" y="1638659"/>
              <a:ext cx="3212970" cy="924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GB" sz="900" b="1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Invoice Metadata Extraction: </a:t>
              </a:r>
              <a:r>
                <a:rPr lang="en-GB" sz="900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Efficiently extract metadata from bulk invoices.</a:t>
              </a:r>
            </a:p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GB" sz="900" b="1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Automated classification</a:t>
              </a:r>
              <a:r>
                <a:rPr lang="en-GB" sz="900" b="0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 of a commercial taxonomy against a spend profile, leveraging AI</a:t>
              </a:r>
              <a:r>
                <a:rPr lang="en-GB" sz="900">
                  <a:solidFill>
                    <a:srgbClr val="242424"/>
                  </a:solidFill>
                  <a:latin typeface="Segoe UI" panose="020B0502040204020203" pitchFamily="34" charset="0"/>
                </a:rPr>
                <a:t>.</a:t>
              </a:r>
              <a:endParaRPr lang="en-GB" sz="900" b="0" i="0">
                <a:solidFill>
                  <a:srgbClr val="242424"/>
                </a:solidFill>
                <a:effectLst/>
                <a:latin typeface="Segoe UI" panose="020B0502040204020203" pitchFamily="34" charset="0"/>
              </a:endParaRP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429B8071-9961-5C38-83A4-681585E607B5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816423" y="5220535"/>
              <a:ext cx="2997679" cy="109540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GB" sz="900" b="1">
                  <a:solidFill>
                    <a:srgbClr val="242424"/>
                  </a:solidFill>
                  <a:latin typeface="Segoe UI" panose="020B0502040204020203" pitchFamily="34" charset="0"/>
                </a:rPr>
                <a:t>N</a:t>
              </a:r>
              <a:r>
                <a:rPr lang="en-GB" sz="900" b="1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ormalises supplier naming conventions </a:t>
              </a:r>
              <a:r>
                <a:rPr lang="en-GB" sz="900" b="0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and details across ERP systems.</a:t>
              </a:r>
            </a:p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GB" sz="900" b="1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Supplier harmonisation process</a:t>
              </a:r>
              <a:r>
                <a:rPr lang="en-GB" sz="900" b="0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, ensuring suppliers are mapped to parent and child entities to support supplier aggregation</a:t>
              </a:r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5B70AB6E-D455-F48B-93DC-78BCAC9AA0AE}"/>
                </a:ext>
              </a:extLst>
            </p:cNvPr>
            <p:cNvGrpSpPr/>
            <p:nvPr/>
          </p:nvGrpSpPr>
          <p:grpSpPr>
            <a:xfrm>
              <a:off x="4718330" y="3210466"/>
              <a:ext cx="2910760" cy="1484964"/>
              <a:chOff x="3292450" y="1478455"/>
              <a:chExt cx="5737680" cy="2927159"/>
            </a:xfrm>
            <a:solidFill>
              <a:schemeClr val="bg1"/>
            </a:solidFill>
          </p:grpSpPr>
          <p:pic>
            <p:nvPicPr>
              <p:cNvPr id="21" name="Picture 122">
                <a:extLst>
                  <a:ext uri="{FF2B5EF4-FFF2-40B4-BE49-F238E27FC236}">
                    <a16:creationId xmlns:a16="http://schemas.microsoft.com/office/drawing/2014/main" id="{B7BD4030-4FAF-198C-F7B3-AC3628CDC1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3950579" y="1616939"/>
                <a:ext cx="4469858" cy="2516942"/>
              </a:xfrm>
              <a:prstGeom prst="rect">
                <a:avLst/>
              </a:prstGeom>
              <a:grpFill/>
            </p:spPr>
          </p:pic>
          <p:pic>
            <p:nvPicPr>
              <p:cNvPr id="22" name="Grafik 33">
                <a:extLst>
                  <a:ext uri="{FF2B5EF4-FFF2-40B4-BE49-F238E27FC236}">
                    <a16:creationId xmlns:a16="http://schemas.microsoft.com/office/drawing/2014/main" id="{DE32B00C-CF95-647E-2FF7-911D186392F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2"/>
                </p:custDataLst>
              </p:nvPr>
            </p:nvPicPr>
            <p:blipFill>
              <a:blip r:embed="rId35">
                <a:clrChange>
                  <a:clrFrom>
                    <a:srgbClr val="000000">
                      <a:alpha val="0"/>
                    </a:srgbClr>
                  </a:clrFrom>
                  <a:clrTo>
                    <a:srgbClr val="000000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292450" y="1478455"/>
                <a:ext cx="5737680" cy="2927159"/>
              </a:xfrm>
              <a:custGeom>
                <a:avLst/>
                <a:gdLst>
                  <a:gd name="connsiteX0" fmla="*/ 872369 w 7484564"/>
                  <a:gd name="connsiteY0" fmla="*/ 216024 h 4248000"/>
                  <a:gd name="connsiteX1" fmla="*/ 872369 w 7484564"/>
                  <a:gd name="connsiteY1" fmla="*/ 3829123 h 4248000"/>
                  <a:gd name="connsiteX2" fmla="*/ 6668369 w 7484564"/>
                  <a:gd name="connsiteY2" fmla="*/ 3829123 h 4248000"/>
                  <a:gd name="connsiteX3" fmla="*/ 6668369 w 7484564"/>
                  <a:gd name="connsiteY3" fmla="*/ 216024 h 4248000"/>
                  <a:gd name="connsiteX4" fmla="*/ 0 w 7484564"/>
                  <a:gd name="connsiteY4" fmla="*/ 0 h 4248000"/>
                  <a:gd name="connsiteX5" fmla="*/ 7484564 w 7484564"/>
                  <a:gd name="connsiteY5" fmla="*/ 0 h 4248000"/>
                  <a:gd name="connsiteX6" fmla="*/ 7484564 w 7484564"/>
                  <a:gd name="connsiteY6" fmla="*/ 4248000 h 4248000"/>
                  <a:gd name="connsiteX7" fmla="*/ 0 w 7484564"/>
                  <a:gd name="connsiteY7" fmla="*/ 4248000 h 42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484564" h="4248000">
                    <a:moveTo>
                      <a:pt x="872369" y="216024"/>
                    </a:moveTo>
                    <a:lnTo>
                      <a:pt x="872369" y="3829123"/>
                    </a:lnTo>
                    <a:lnTo>
                      <a:pt x="6668369" y="3829123"/>
                    </a:lnTo>
                    <a:lnTo>
                      <a:pt x="6668369" y="216024"/>
                    </a:lnTo>
                    <a:close/>
                    <a:moveTo>
                      <a:pt x="0" y="0"/>
                    </a:moveTo>
                    <a:lnTo>
                      <a:pt x="7484564" y="0"/>
                    </a:lnTo>
                    <a:lnTo>
                      <a:pt x="7484564" y="4248000"/>
                    </a:lnTo>
                    <a:lnTo>
                      <a:pt x="0" y="4248000"/>
                    </a:lnTo>
                    <a:close/>
                  </a:path>
                </a:pathLst>
              </a:custGeom>
              <a:noFill/>
            </p:spPr>
          </p:pic>
        </p:grpSp>
        <p:sp>
          <p:nvSpPr>
            <p:cNvPr id="23" name="Textfeld 23">
              <a:extLst>
                <a:ext uri="{FF2B5EF4-FFF2-40B4-BE49-F238E27FC236}">
                  <a16:creationId xmlns:a16="http://schemas.microsoft.com/office/drawing/2014/main" id="{3B55467F-DEA9-4323-9599-E03D0DF4A2BA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499776" y="1137834"/>
              <a:ext cx="3589042" cy="45408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accent2"/>
                </a:gs>
                <a:gs pos="93000">
                  <a:schemeClr val="accent1">
                    <a:alpha val="80000"/>
                  </a:schemeClr>
                </a:gs>
              </a:gsLst>
              <a:lin ang="2700000" scaled="0"/>
            </a:gradFill>
            <a:ln>
              <a:noFill/>
            </a:ln>
          </p:spPr>
          <p:txBody>
            <a:bodyPr wrap="square" lIns="252000" rtlCol="0" anchor="ctr">
              <a:spAutoFit/>
            </a:bodyPr>
            <a:lstStyle/>
            <a:p>
              <a:pPr defTabSz="519488">
                <a:defRPr/>
              </a:pPr>
              <a:endParaRPr lang="en-US" sz="1100" b="1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24" name="Oval 27">
              <a:extLst>
                <a:ext uri="{FF2B5EF4-FFF2-40B4-BE49-F238E27FC236}">
                  <a16:creationId xmlns:a16="http://schemas.microsoft.com/office/drawing/2014/main" id="{DB3B6992-D150-0593-13B2-30EBAA66E353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96081" y="1140024"/>
              <a:ext cx="442133" cy="43279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: abgerundete Ecken 24">
              <a:extLst>
                <a:ext uri="{FF2B5EF4-FFF2-40B4-BE49-F238E27FC236}">
                  <a16:creationId xmlns:a16="http://schemas.microsoft.com/office/drawing/2014/main" id="{CAD3C2ED-927B-E475-7A96-168AF4C9090B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8442074" y="1353796"/>
              <a:ext cx="3275960" cy="1332909"/>
            </a:xfrm>
            <a:prstGeom prst="roundRect">
              <a:avLst>
                <a:gd name="adj" fmla="val 8883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288000" rIns="36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9384C861-4F4A-5E10-5463-117355C37FF2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8483443" y="1581273"/>
              <a:ext cx="3275960" cy="109540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GB" sz="900" b="1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Contract metadata</a:t>
              </a:r>
              <a:r>
                <a:rPr lang="en-GB" sz="900" b="0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 supports the extraction and review of payment terms, expiry dates, and cost-saving initiatives.</a:t>
              </a:r>
              <a:endParaRPr lang="en-GB" sz="900">
                <a:solidFill>
                  <a:srgbClr val="242424"/>
                </a:solidFill>
                <a:latin typeface="Segoe UI" panose="020B0502040204020203" pitchFamily="34" charset="0"/>
              </a:endParaRPr>
            </a:p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GB" sz="900" b="1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Supports contracted spend</a:t>
              </a:r>
              <a:r>
                <a:rPr lang="en-GB" sz="900" b="0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 across the portfolio, helping drive key compliance checks.</a:t>
              </a:r>
            </a:p>
          </p:txBody>
        </p:sp>
        <p:sp>
          <p:nvSpPr>
            <p:cNvPr id="27" name="Textfeld 23">
              <a:extLst>
                <a:ext uri="{FF2B5EF4-FFF2-40B4-BE49-F238E27FC236}">
                  <a16:creationId xmlns:a16="http://schemas.microsoft.com/office/drawing/2014/main" id="{9E245095-F470-9931-DFF1-EFC7DBB8B957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8264891" y="1137834"/>
              <a:ext cx="3494512" cy="45409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accent2"/>
                </a:gs>
                <a:gs pos="93000">
                  <a:schemeClr val="accent1">
                    <a:alpha val="80000"/>
                  </a:schemeClr>
                </a:gs>
              </a:gsLst>
              <a:lin ang="2700000" scaled="0"/>
            </a:gradFill>
            <a:ln>
              <a:noFill/>
            </a:ln>
          </p:spPr>
          <p:txBody>
            <a:bodyPr wrap="square" lIns="252000" rtlCol="0" anchor="ctr">
              <a:spAutoFit/>
            </a:bodyPr>
            <a:lstStyle/>
            <a:p>
              <a:pPr defTabSz="519488"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</a:t>
              </a:r>
              <a:r>
                <a:rPr lang="en-US" sz="1100" b="1">
                  <a:solidFill>
                    <a:schemeClr val="bg1"/>
                  </a:solidFill>
                  <a:latin typeface="Calibri"/>
                </a:rPr>
                <a:t>Contract Analysis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8DADEE8D-3C1F-4D4F-182C-68DD55599D65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8261196" y="1140024"/>
              <a:ext cx="442133" cy="43279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: abgerundete Ecken 24">
              <a:extLst>
                <a:ext uri="{FF2B5EF4-FFF2-40B4-BE49-F238E27FC236}">
                  <a16:creationId xmlns:a16="http://schemas.microsoft.com/office/drawing/2014/main" id="{73AF01BE-03E6-4C53-6015-2D9C918382C5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8442074" y="4950692"/>
              <a:ext cx="3275960" cy="1397827"/>
            </a:xfrm>
            <a:prstGeom prst="roundRect">
              <a:avLst>
                <a:gd name="adj" fmla="val 9061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288000" rIns="36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0" name="Textfeld 23">
              <a:extLst>
                <a:ext uri="{FF2B5EF4-FFF2-40B4-BE49-F238E27FC236}">
                  <a16:creationId xmlns:a16="http://schemas.microsoft.com/office/drawing/2014/main" id="{0A164A25-5E57-DA38-F191-3DC8330547AB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8264891" y="4712178"/>
              <a:ext cx="3502861" cy="45409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accent2"/>
                </a:gs>
                <a:gs pos="93000">
                  <a:schemeClr val="accent1">
                    <a:alpha val="80000"/>
                  </a:schemeClr>
                </a:gs>
              </a:gsLst>
              <a:lin ang="2700000" scaled="0"/>
            </a:gradFill>
            <a:ln>
              <a:noFill/>
            </a:ln>
          </p:spPr>
          <p:txBody>
            <a:bodyPr wrap="square" lIns="252000" rtlCol="0" anchor="ctr">
              <a:spAutoFit/>
            </a:bodyPr>
            <a:lstStyle/>
            <a:p>
              <a:pPr defTabSz="519488"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</a:t>
              </a:r>
              <a:r>
                <a:rPr lang="en-US" sz="1100" b="1">
                  <a:solidFill>
                    <a:schemeClr val="bg1"/>
                  </a:solidFill>
                  <a:latin typeface="Calibri"/>
                </a:rPr>
                <a:t>Similar Parts Analysis</a:t>
              </a:r>
            </a:p>
          </p:txBody>
        </p:sp>
        <p:sp>
          <p:nvSpPr>
            <p:cNvPr id="31" name="Oval 27">
              <a:extLst>
                <a:ext uri="{FF2B5EF4-FFF2-40B4-BE49-F238E27FC236}">
                  <a16:creationId xmlns:a16="http://schemas.microsoft.com/office/drawing/2014/main" id="{01812DFA-00FE-682C-F8FF-D9DA264CF7F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8261196" y="4714369"/>
              <a:ext cx="442133" cy="43279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err="1">
                <a:solidFill>
                  <a:schemeClr val="tx1"/>
                </a:solidFill>
              </a:endParaRP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6655783C-B297-240C-0F87-B1D849F917F7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8513784" y="5164077"/>
              <a:ext cx="3155394" cy="109540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GB" sz="900" b="1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Match parts</a:t>
              </a:r>
              <a:r>
                <a:rPr lang="en-GB" sz="900" b="0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 across a direct material portfolio, highlighting areas of savings opportunities.</a:t>
              </a:r>
            </a:p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US" sz="900" b="1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Cost Savings Opportunities</a:t>
              </a:r>
              <a:r>
                <a:rPr lang="en-US" sz="900" b="0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: This review identifies areas for immediate savings, leveraging the best prices negotiated.</a:t>
              </a:r>
              <a:endParaRPr lang="en-GB" sz="900" b="0" i="0">
                <a:solidFill>
                  <a:srgbClr val="242424"/>
                </a:solidFill>
                <a:effectLst/>
                <a:latin typeface="Segoe UI" panose="020B0502040204020203" pitchFamily="34" charset="0"/>
              </a:endParaRPr>
            </a:p>
          </p:txBody>
        </p:sp>
        <p:sp>
          <p:nvSpPr>
            <p:cNvPr id="33" name="Receipt and Change">
              <a:extLst>
                <a:ext uri="{FF2B5EF4-FFF2-40B4-BE49-F238E27FC236}">
                  <a16:creationId xmlns:a16="http://schemas.microsoft.com/office/drawing/2014/main" id="{3B341695-9B6D-F952-C8A5-C6EEB05F42BF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614269" y="1236623"/>
              <a:ext cx="259755" cy="271574"/>
            </a:xfrm>
            <a:custGeom>
              <a:avLst/>
              <a:gdLst>
                <a:gd name="connsiteX0" fmla="*/ 53132 w 259755"/>
                <a:gd name="connsiteY0" fmla="*/ 0 h 271574"/>
                <a:gd name="connsiteX1" fmla="*/ 49592 w 259755"/>
                <a:gd name="connsiteY1" fmla="*/ 1188 h 271574"/>
                <a:gd name="connsiteX2" fmla="*/ 29518 w 259755"/>
                <a:gd name="connsiteY2" fmla="*/ 16246 h 271574"/>
                <a:gd name="connsiteX3" fmla="*/ 9443 w 259755"/>
                <a:gd name="connsiteY3" fmla="*/ 1188 h 271574"/>
                <a:gd name="connsiteX4" fmla="*/ 3263 w 259755"/>
                <a:gd name="connsiteY4" fmla="*/ 634 h 271574"/>
                <a:gd name="connsiteX5" fmla="*/ 0 w 259755"/>
                <a:gd name="connsiteY5" fmla="*/ 5915 h 271574"/>
                <a:gd name="connsiteX6" fmla="*/ 0 w 259755"/>
                <a:gd name="connsiteY6" fmla="*/ 253864 h 271574"/>
                <a:gd name="connsiteX7" fmla="*/ 5904 w 259755"/>
                <a:gd name="connsiteY7" fmla="*/ 259767 h 271574"/>
                <a:gd name="connsiteX8" fmla="*/ 148027 w 259755"/>
                <a:gd name="connsiteY8" fmla="*/ 259767 h 271574"/>
                <a:gd name="connsiteX9" fmla="*/ 139425 w 259755"/>
                <a:gd name="connsiteY9" fmla="*/ 247960 h 271574"/>
                <a:gd name="connsiteX10" fmla="*/ 11807 w 259755"/>
                <a:gd name="connsiteY10" fmla="*/ 247960 h 271574"/>
                <a:gd name="connsiteX11" fmla="*/ 11807 w 259755"/>
                <a:gd name="connsiteY11" fmla="*/ 17722 h 271574"/>
                <a:gd name="connsiteX12" fmla="*/ 25978 w 259755"/>
                <a:gd name="connsiteY12" fmla="*/ 28353 h 271574"/>
                <a:gd name="connsiteX13" fmla="*/ 33058 w 259755"/>
                <a:gd name="connsiteY13" fmla="*/ 28353 h 271574"/>
                <a:gd name="connsiteX14" fmla="*/ 53132 w 259755"/>
                <a:gd name="connsiteY14" fmla="*/ 13294 h 271574"/>
                <a:gd name="connsiteX15" fmla="*/ 73206 w 259755"/>
                <a:gd name="connsiteY15" fmla="*/ 28353 h 271574"/>
                <a:gd name="connsiteX16" fmla="*/ 80286 w 259755"/>
                <a:gd name="connsiteY16" fmla="*/ 28353 h 271574"/>
                <a:gd name="connsiteX17" fmla="*/ 100360 w 259755"/>
                <a:gd name="connsiteY17" fmla="*/ 13294 h 271574"/>
                <a:gd name="connsiteX18" fmla="*/ 120435 w 259755"/>
                <a:gd name="connsiteY18" fmla="*/ 28353 h 271574"/>
                <a:gd name="connsiteX19" fmla="*/ 127514 w 259755"/>
                <a:gd name="connsiteY19" fmla="*/ 28353 h 271574"/>
                <a:gd name="connsiteX20" fmla="*/ 147589 w 259755"/>
                <a:gd name="connsiteY20" fmla="*/ 13294 h 271574"/>
                <a:gd name="connsiteX21" fmla="*/ 167663 w 259755"/>
                <a:gd name="connsiteY21" fmla="*/ 28353 h 271574"/>
                <a:gd name="connsiteX22" fmla="*/ 174742 w 259755"/>
                <a:gd name="connsiteY22" fmla="*/ 28353 h 271574"/>
                <a:gd name="connsiteX23" fmla="*/ 188913 w 259755"/>
                <a:gd name="connsiteY23" fmla="*/ 17722 h 271574"/>
                <a:gd name="connsiteX24" fmla="*/ 188913 w 259755"/>
                <a:gd name="connsiteY24" fmla="*/ 96682 h 271574"/>
                <a:gd name="connsiteX25" fmla="*/ 200720 w 259755"/>
                <a:gd name="connsiteY25" fmla="*/ 94618 h 271574"/>
                <a:gd name="connsiteX26" fmla="*/ 200720 w 259755"/>
                <a:gd name="connsiteY26" fmla="*/ 5915 h 271574"/>
                <a:gd name="connsiteX27" fmla="*/ 197457 w 259755"/>
                <a:gd name="connsiteY27" fmla="*/ 634 h 271574"/>
                <a:gd name="connsiteX28" fmla="*/ 191277 w 259755"/>
                <a:gd name="connsiteY28" fmla="*/ 1188 h 271574"/>
                <a:gd name="connsiteX29" fmla="*/ 171203 w 259755"/>
                <a:gd name="connsiteY29" fmla="*/ 16246 h 271574"/>
                <a:gd name="connsiteX30" fmla="*/ 151128 w 259755"/>
                <a:gd name="connsiteY30" fmla="*/ 1188 h 271574"/>
                <a:gd name="connsiteX31" fmla="*/ 144049 w 259755"/>
                <a:gd name="connsiteY31" fmla="*/ 1188 h 271574"/>
                <a:gd name="connsiteX32" fmla="*/ 123974 w 259755"/>
                <a:gd name="connsiteY32" fmla="*/ 16246 h 271574"/>
                <a:gd name="connsiteX33" fmla="*/ 103900 w 259755"/>
                <a:gd name="connsiteY33" fmla="*/ 1188 h 271574"/>
                <a:gd name="connsiteX34" fmla="*/ 96820 w 259755"/>
                <a:gd name="connsiteY34" fmla="*/ 1188 h 271574"/>
                <a:gd name="connsiteX35" fmla="*/ 76746 w 259755"/>
                <a:gd name="connsiteY35" fmla="*/ 16246 h 271574"/>
                <a:gd name="connsiteX36" fmla="*/ 56672 w 259755"/>
                <a:gd name="connsiteY36" fmla="*/ 1188 h 271574"/>
                <a:gd name="connsiteX37" fmla="*/ 53132 w 259755"/>
                <a:gd name="connsiteY37" fmla="*/ 0 h 271574"/>
                <a:gd name="connsiteX38" fmla="*/ 41325 w 259755"/>
                <a:gd name="connsiteY38" fmla="*/ 70854 h 271574"/>
                <a:gd name="connsiteX39" fmla="*/ 41325 w 259755"/>
                <a:gd name="connsiteY39" fmla="*/ 82661 h 271574"/>
                <a:gd name="connsiteX40" fmla="*/ 159396 w 259755"/>
                <a:gd name="connsiteY40" fmla="*/ 82661 h 271574"/>
                <a:gd name="connsiteX41" fmla="*/ 159396 w 259755"/>
                <a:gd name="connsiteY41" fmla="*/ 70854 h 271574"/>
                <a:gd name="connsiteX42" fmla="*/ 41325 w 259755"/>
                <a:gd name="connsiteY42" fmla="*/ 70854 h 271574"/>
                <a:gd name="connsiteX43" fmla="*/ 203672 w 259755"/>
                <a:gd name="connsiteY43" fmla="*/ 106275 h 271574"/>
                <a:gd name="connsiteX44" fmla="*/ 170557 w 259755"/>
                <a:gd name="connsiteY44" fmla="*/ 125335 h 271574"/>
                <a:gd name="connsiteX45" fmla="*/ 159396 w 259755"/>
                <a:gd name="connsiteY45" fmla="*/ 123986 h 271574"/>
                <a:gd name="connsiteX46" fmla="*/ 112167 w 259755"/>
                <a:gd name="connsiteY46" fmla="*/ 171214 h 271574"/>
                <a:gd name="connsiteX47" fmla="*/ 141812 w 259755"/>
                <a:gd name="connsiteY47" fmla="*/ 215030 h 271574"/>
                <a:gd name="connsiteX48" fmla="*/ 200720 w 259755"/>
                <a:gd name="connsiteY48" fmla="*/ 271574 h 271574"/>
                <a:gd name="connsiteX49" fmla="*/ 259756 w 259755"/>
                <a:gd name="connsiteY49" fmla="*/ 212539 h 271574"/>
                <a:gd name="connsiteX50" fmla="*/ 235969 w 259755"/>
                <a:gd name="connsiteY50" fmla="*/ 165311 h 271574"/>
                <a:gd name="connsiteX51" fmla="*/ 242045 w 259755"/>
                <a:gd name="connsiteY51" fmla="*/ 144648 h 271574"/>
                <a:gd name="connsiteX52" fmla="*/ 203672 w 259755"/>
                <a:gd name="connsiteY52" fmla="*/ 106275 h 271574"/>
                <a:gd name="connsiteX53" fmla="*/ 203672 w 259755"/>
                <a:gd name="connsiteY53" fmla="*/ 118082 h 271574"/>
                <a:gd name="connsiteX54" fmla="*/ 230238 w 259755"/>
                <a:gd name="connsiteY54" fmla="*/ 144648 h 271574"/>
                <a:gd name="connsiteX55" fmla="*/ 225833 w 259755"/>
                <a:gd name="connsiteY55" fmla="*/ 159199 h 271574"/>
                <a:gd name="connsiteX56" fmla="*/ 203211 w 259755"/>
                <a:gd name="connsiteY56" fmla="*/ 153630 h 271574"/>
                <a:gd name="connsiteX57" fmla="*/ 181811 w 259755"/>
                <a:gd name="connsiteY57" fmla="*/ 129659 h 271574"/>
                <a:gd name="connsiteX58" fmla="*/ 203672 w 259755"/>
                <a:gd name="connsiteY58" fmla="*/ 118082 h 271574"/>
                <a:gd name="connsiteX59" fmla="*/ 41325 w 259755"/>
                <a:gd name="connsiteY59" fmla="*/ 123986 h 271574"/>
                <a:gd name="connsiteX60" fmla="*/ 41325 w 259755"/>
                <a:gd name="connsiteY60" fmla="*/ 135793 h 271574"/>
                <a:gd name="connsiteX61" fmla="*/ 112248 w 259755"/>
                <a:gd name="connsiteY61" fmla="*/ 135793 h 271574"/>
                <a:gd name="connsiteX62" fmla="*/ 124078 w 259755"/>
                <a:gd name="connsiteY62" fmla="*/ 123986 h 271574"/>
                <a:gd name="connsiteX63" fmla="*/ 41325 w 259755"/>
                <a:gd name="connsiteY63" fmla="*/ 123986 h 271574"/>
                <a:gd name="connsiteX64" fmla="*/ 159396 w 259755"/>
                <a:gd name="connsiteY64" fmla="*/ 135793 h 271574"/>
                <a:gd name="connsiteX65" fmla="*/ 190504 w 259755"/>
                <a:gd name="connsiteY65" fmla="*/ 154449 h 271574"/>
                <a:gd name="connsiteX66" fmla="*/ 142631 w 259755"/>
                <a:gd name="connsiteY66" fmla="*/ 202323 h 271574"/>
                <a:gd name="connsiteX67" fmla="*/ 123974 w 259755"/>
                <a:gd name="connsiteY67" fmla="*/ 171214 h 271574"/>
                <a:gd name="connsiteX68" fmla="*/ 159396 w 259755"/>
                <a:gd name="connsiteY68" fmla="*/ 135793 h 271574"/>
                <a:gd name="connsiteX69" fmla="*/ 41325 w 259755"/>
                <a:gd name="connsiteY69" fmla="*/ 159407 h 271574"/>
                <a:gd name="connsiteX70" fmla="*/ 41325 w 259755"/>
                <a:gd name="connsiteY70" fmla="*/ 171214 h 271574"/>
                <a:gd name="connsiteX71" fmla="*/ 100360 w 259755"/>
                <a:gd name="connsiteY71" fmla="*/ 171214 h 271574"/>
                <a:gd name="connsiteX72" fmla="*/ 101548 w 259755"/>
                <a:gd name="connsiteY72" fmla="*/ 159407 h 271574"/>
                <a:gd name="connsiteX73" fmla="*/ 41325 w 259755"/>
                <a:gd name="connsiteY73" fmla="*/ 159407 h 271574"/>
                <a:gd name="connsiteX74" fmla="*/ 200720 w 259755"/>
                <a:gd name="connsiteY74" fmla="*/ 165311 h 271574"/>
                <a:gd name="connsiteX75" fmla="*/ 247949 w 259755"/>
                <a:gd name="connsiteY75" fmla="*/ 212539 h 271574"/>
                <a:gd name="connsiteX76" fmla="*/ 200720 w 259755"/>
                <a:gd name="connsiteY76" fmla="*/ 259767 h 271574"/>
                <a:gd name="connsiteX77" fmla="*/ 153492 w 259755"/>
                <a:gd name="connsiteY77" fmla="*/ 212539 h 271574"/>
                <a:gd name="connsiteX78" fmla="*/ 200720 w 259755"/>
                <a:gd name="connsiteY78" fmla="*/ 165311 h 271574"/>
                <a:gd name="connsiteX79" fmla="*/ 187898 w 259755"/>
                <a:gd name="connsiteY79" fmla="*/ 185973 h 271574"/>
                <a:gd name="connsiteX80" fmla="*/ 183033 w 259755"/>
                <a:gd name="connsiteY80" fmla="*/ 213323 h 271574"/>
                <a:gd name="connsiteX81" fmla="*/ 192073 w 259755"/>
                <a:gd name="connsiteY81" fmla="*/ 213323 h 271574"/>
                <a:gd name="connsiteX82" fmla="*/ 199636 w 259755"/>
                <a:gd name="connsiteY82" fmla="*/ 209368 h 271574"/>
                <a:gd name="connsiteX83" fmla="*/ 208192 w 259755"/>
                <a:gd name="connsiteY83" fmla="*/ 218627 h 271574"/>
                <a:gd name="connsiteX84" fmla="*/ 199636 w 259755"/>
                <a:gd name="connsiteY84" fmla="*/ 228163 h 271574"/>
                <a:gd name="connsiteX85" fmla="*/ 191508 w 259755"/>
                <a:gd name="connsiteY85" fmla="*/ 220737 h 271574"/>
                <a:gd name="connsiteX86" fmla="*/ 181465 w 259755"/>
                <a:gd name="connsiteY86" fmla="*/ 220737 h 271574"/>
                <a:gd name="connsiteX87" fmla="*/ 199844 w 259755"/>
                <a:gd name="connsiteY87" fmla="*/ 236361 h 271574"/>
                <a:gd name="connsiteX88" fmla="*/ 218223 w 259755"/>
                <a:gd name="connsiteY88" fmla="*/ 218627 h 271574"/>
                <a:gd name="connsiteX89" fmla="*/ 202957 w 259755"/>
                <a:gd name="connsiteY89" fmla="*/ 201804 h 271574"/>
                <a:gd name="connsiteX90" fmla="*/ 193272 w 259755"/>
                <a:gd name="connsiteY90" fmla="*/ 205621 h 271574"/>
                <a:gd name="connsiteX91" fmla="*/ 193133 w 259755"/>
                <a:gd name="connsiteY91" fmla="*/ 205482 h 271574"/>
                <a:gd name="connsiteX92" fmla="*/ 195105 w 259755"/>
                <a:gd name="connsiteY92" fmla="*/ 194240 h 271574"/>
                <a:gd name="connsiteX93" fmla="*/ 215537 w 259755"/>
                <a:gd name="connsiteY93" fmla="*/ 194240 h 271574"/>
                <a:gd name="connsiteX94" fmla="*/ 215537 w 259755"/>
                <a:gd name="connsiteY94" fmla="*/ 185973 h 271574"/>
                <a:gd name="connsiteX95" fmla="*/ 187898 w 259755"/>
                <a:gd name="connsiteY95" fmla="*/ 185973 h 271574"/>
                <a:gd name="connsiteX96" fmla="*/ 41325 w 259755"/>
                <a:gd name="connsiteY96" fmla="*/ 194828 h 271574"/>
                <a:gd name="connsiteX97" fmla="*/ 41325 w 259755"/>
                <a:gd name="connsiteY97" fmla="*/ 206635 h 271574"/>
                <a:gd name="connsiteX98" fmla="*/ 112248 w 259755"/>
                <a:gd name="connsiteY98" fmla="*/ 206635 h 271574"/>
                <a:gd name="connsiteX99" fmla="*/ 105307 w 259755"/>
                <a:gd name="connsiteY99" fmla="*/ 194828 h 271574"/>
                <a:gd name="connsiteX100" fmla="*/ 41325 w 259755"/>
                <a:gd name="connsiteY100" fmla="*/ 194828 h 271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259755" h="271574">
                  <a:moveTo>
                    <a:pt x="53132" y="0"/>
                  </a:moveTo>
                  <a:cubicBezTo>
                    <a:pt x="51886" y="0"/>
                    <a:pt x="50640" y="397"/>
                    <a:pt x="49592" y="1188"/>
                  </a:cubicBezTo>
                  <a:lnTo>
                    <a:pt x="29518" y="16246"/>
                  </a:lnTo>
                  <a:lnTo>
                    <a:pt x="9443" y="1188"/>
                  </a:lnTo>
                  <a:cubicBezTo>
                    <a:pt x="7655" y="-158"/>
                    <a:pt x="5258" y="-358"/>
                    <a:pt x="3263" y="634"/>
                  </a:cubicBezTo>
                  <a:cubicBezTo>
                    <a:pt x="1262" y="1638"/>
                    <a:pt x="0" y="3678"/>
                    <a:pt x="0" y="5915"/>
                  </a:cubicBezTo>
                  <a:lnTo>
                    <a:pt x="0" y="253864"/>
                  </a:lnTo>
                  <a:cubicBezTo>
                    <a:pt x="0" y="257128"/>
                    <a:pt x="2639" y="259767"/>
                    <a:pt x="5904" y="259767"/>
                  </a:cubicBezTo>
                  <a:lnTo>
                    <a:pt x="148027" y="259767"/>
                  </a:lnTo>
                  <a:cubicBezTo>
                    <a:pt x="144774" y="256143"/>
                    <a:pt x="141881" y="252199"/>
                    <a:pt x="139425" y="247960"/>
                  </a:cubicBezTo>
                  <a:lnTo>
                    <a:pt x="11807" y="247960"/>
                  </a:lnTo>
                  <a:lnTo>
                    <a:pt x="11807" y="17722"/>
                  </a:lnTo>
                  <a:lnTo>
                    <a:pt x="25978" y="28353"/>
                  </a:lnTo>
                  <a:cubicBezTo>
                    <a:pt x="28074" y="29935"/>
                    <a:pt x="30962" y="29935"/>
                    <a:pt x="33058" y="28353"/>
                  </a:cubicBezTo>
                  <a:lnTo>
                    <a:pt x="53132" y="13294"/>
                  </a:lnTo>
                  <a:lnTo>
                    <a:pt x="73206" y="28353"/>
                  </a:lnTo>
                  <a:cubicBezTo>
                    <a:pt x="75302" y="29935"/>
                    <a:pt x="78190" y="29935"/>
                    <a:pt x="80286" y="28353"/>
                  </a:cubicBezTo>
                  <a:lnTo>
                    <a:pt x="100360" y="13294"/>
                  </a:lnTo>
                  <a:lnTo>
                    <a:pt x="120435" y="28353"/>
                  </a:lnTo>
                  <a:cubicBezTo>
                    <a:pt x="122530" y="29935"/>
                    <a:pt x="125418" y="29935"/>
                    <a:pt x="127514" y="28353"/>
                  </a:cubicBezTo>
                  <a:lnTo>
                    <a:pt x="147589" y="13294"/>
                  </a:lnTo>
                  <a:lnTo>
                    <a:pt x="167663" y="28353"/>
                  </a:lnTo>
                  <a:cubicBezTo>
                    <a:pt x="169759" y="29935"/>
                    <a:pt x="172647" y="29935"/>
                    <a:pt x="174742" y="28353"/>
                  </a:cubicBezTo>
                  <a:lnTo>
                    <a:pt x="188913" y="17722"/>
                  </a:lnTo>
                  <a:lnTo>
                    <a:pt x="188913" y="96682"/>
                  </a:lnTo>
                  <a:cubicBezTo>
                    <a:pt x="192674" y="95525"/>
                    <a:pt x="196641" y="94860"/>
                    <a:pt x="200720" y="94618"/>
                  </a:cubicBezTo>
                  <a:lnTo>
                    <a:pt x="200720" y="5915"/>
                  </a:lnTo>
                  <a:cubicBezTo>
                    <a:pt x="200720" y="3678"/>
                    <a:pt x="199459" y="1638"/>
                    <a:pt x="197457" y="634"/>
                  </a:cubicBezTo>
                  <a:cubicBezTo>
                    <a:pt x="195456" y="-352"/>
                    <a:pt x="193066" y="-152"/>
                    <a:pt x="191277" y="1188"/>
                  </a:cubicBezTo>
                  <a:lnTo>
                    <a:pt x="171203" y="16246"/>
                  </a:lnTo>
                  <a:lnTo>
                    <a:pt x="151128" y="1188"/>
                  </a:lnTo>
                  <a:cubicBezTo>
                    <a:pt x="149033" y="-395"/>
                    <a:pt x="146145" y="-395"/>
                    <a:pt x="144049" y="1188"/>
                  </a:cubicBezTo>
                  <a:lnTo>
                    <a:pt x="123974" y="16246"/>
                  </a:lnTo>
                  <a:lnTo>
                    <a:pt x="103900" y="1188"/>
                  </a:lnTo>
                  <a:cubicBezTo>
                    <a:pt x="101804" y="-395"/>
                    <a:pt x="98916" y="-395"/>
                    <a:pt x="96820" y="1188"/>
                  </a:cubicBezTo>
                  <a:lnTo>
                    <a:pt x="76746" y="16246"/>
                  </a:lnTo>
                  <a:lnTo>
                    <a:pt x="56672" y="1188"/>
                  </a:lnTo>
                  <a:cubicBezTo>
                    <a:pt x="55624" y="397"/>
                    <a:pt x="54378" y="0"/>
                    <a:pt x="53132" y="0"/>
                  </a:cubicBezTo>
                  <a:close/>
                  <a:moveTo>
                    <a:pt x="41325" y="70854"/>
                  </a:moveTo>
                  <a:lnTo>
                    <a:pt x="41325" y="82661"/>
                  </a:lnTo>
                  <a:lnTo>
                    <a:pt x="159396" y="82661"/>
                  </a:lnTo>
                  <a:lnTo>
                    <a:pt x="159396" y="70854"/>
                  </a:lnTo>
                  <a:lnTo>
                    <a:pt x="41325" y="70854"/>
                  </a:lnTo>
                  <a:close/>
                  <a:moveTo>
                    <a:pt x="203672" y="106275"/>
                  </a:moveTo>
                  <a:cubicBezTo>
                    <a:pt x="189576" y="106275"/>
                    <a:pt x="177223" y="113940"/>
                    <a:pt x="170557" y="125335"/>
                  </a:cubicBezTo>
                  <a:cubicBezTo>
                    <a:pt x="166973" y="124464"/>
                    <a:pt x="163241" y="123986"/>
                    <a:pt x="159396" y="123986"/>
                  </a:cubicBezTo>
                  <a:cubicBezTo>
                    <a:pt x="133382" y="123986"/>
                    <a:pt x="112167" y="145201"/>
                    <a:pt x="112167" y="171214"/>
                  </a:cubicBezTo>
                  <a:cubicBezTo>
                    <a:pt x="112167" y="191027"/>
                    <a:pt x="124431" y="208041"/>
                    <a:pt x="141812" y="215030"/>
                  </a:cubicBezTo>
                  <a:cubicBezTo>
                    <a:pt x="143134" y="246405"/>
                    <a:pt x="169027" y="271574"/>
                    <a:pt x="200720" y="271574"/>
                  </a:cubicBezTo>
                  <a:cubicBezTo>
                    <a:pt x="233255" y="271574"/>
                    <a:pt x="259756" y="245073"/>
                    <a:pt x="259756" y="212539"/>
                  </a:cubicBezTo>
                  <a:cubicBezTo>
                    <a:pt x="259756" y="193223"/>
                    <a:pt x="250368" y="176090"/>
                    <a:pt x="235969" y="165311"/>
                  </a:cubicBezTo>
                  <a:cubicBezTo>
                    <a:pt x="239795" y="159336"/>
                    <a:pt x="242045" y="152240"/>
                    <a:pt x="242045" y="144648"/>
                  </a:cubicBezTo>
                  <a:cubicBezTo>
                    <a:pt x="242045" y="123524"/>
                    <a:pt x="224797" y="106275"/>
                    <a:pt x="203672" y="106275"/>
                  </a:cubicBezTo>
                  <a:close/>
                  <a:moveTo>
                    <a:pt x="203672" y="118082"/>
                  </a:moveTo>
                  <a:cubicBezTo>
                    <a:pt x="218417" y="118082"/>
                    <a:pt x="230238" y="129903"/>
                    <a:pt x="230238" y="144648"/>
                  </a:cubicBezTo>
                  <a:cubicBezTo>
                    <a:pt x="230238" y="150063"/>
                    <a:pt x="228592" y="155018"/>
                    <a:pt x="225833" y="159199"/>
                  </a:cubicBezTo>
                  <a:cubicBezTo>
                    <a:pt x="218913" y="155925"/>
                    <a:pt x="211275" y="153970"/>
                    <a:pt x="203211" y="153630"/>
                  </a:cubicBezTo>
                  <a:cubicBezTo>
                    <a:pt x="199082" y="143358"/>
                    <a:pt x="191455" y="134878"/>
                    <a:pt x="181811" y="129659"/>
                  </a:cubicBezTo>
                  <a:cubicBezTo>
                    <a:pt x="186588" y="122698"/>
                    <a:pt x="194539" y="118082"/>
                    <a:pt x="203672" y="118082"/>
                  </a:cubicBezTo>
                  <a:close/>
                  <a:moveTo>
                    <a:pt x="41325" y="123986"/>
                  </a:moveTo>
                  <a:lnTo>
                    <a:pt x="41325" y="135793"/>
                  </a:lnTo>
                  <a:lnTo>
                    <a:pt x="112248" y="135793"/>
                  </a:lnTo>
                  <a:cubicBezTo>
                    <a:pt x="115613" y="131318"/>
                    <a:pt x="119597" y="127345"/>
                    <a:pt x="124078" y="123986"/>
                  </a:cubicBezTo>
                  <a:lnTo>
                    <a:pt x="41325" y="123986"/>
                  </a:lnTo>
                  <a:close/>
                  <a:moveTo>
                    <a:pt x="159396" y="135793"/>
                  </a:moveTo>
                  <a:cubicBezTo>
                    <a:pt x="172921" y="135793"/>
                    <a:pt x="184529" y="143377"/>
                    <a:pt x="190504" y="154449"/>
                  </a:cubicBezTo>
                  <a:cubicBezTo>
                    <a:pt x="166152" y="158730"/>
                    <a:pt x="146911" y="177971"/>
                    <a:pt x="142631" y="202323"/>
                  </a:cubicBezTo>
                  <a:cubicBezTo>
                    <a:pt x="131562" y="196347"/>
                    <a:pt x="123974" y="184737"/>
                    <a:pt x="123974" y="171214"/>
                  </a:cubicBezTo>
                  <a:cubicBezTo>
                    <a:pt x="123974" y="151581"/>
                    <a:pt x="139763" y="135793"/>
                    <a:pt x="159396" y="135793"/>
                  </a:cubicBezTo>
                  <a:close/>
                  <a:moveTo>
                    <a:pt x="41325" y="159407"/>
                  </a:moveTo>
                  <a:lnTo>
                    <a:pt x="41325" y="171214"/>
                  </a:lnTo>
                  <a:lnTo>
                    <a:pt x="100360" y="171214"/>
                  </a:lnTo>
                  <a:cubicBezTo>
                    <a:pt x="100360" y="167170"/>
                    <a:pt x="100775" y="163221"/>
                    <a:pt x="101548" y="159407"/>
                  </a:cubicBezTo>
                  <a:lnTo>
                    <a:pt x="41325" y="159407"/>
                  </a:lnTo>
                  <a:close/>
                  <a:moveTo>
                    <a:pt x="200720" y="165311"/>
                  </a:moveTo>
                  <a:cubicBezTo>
                    <a:pt x="226874" y="165311"/>
                    <a:pt x="247949" y="186386"/>
                    <a:pt x="247949" y="212539"/>
                  </a:cubicBezTo>
                  <a:cubicBezTo>
                    <a:pt x="247949" y="238692"/>
                    <a:pt x="226874" y="259767"/>
                    <a:pt x="200720" y="259767"/>
                  </a:cubicBezTo>
                  <a:cubicBezTo>
                    <a:pt x="174567" y="259767"/>
                    <a:pt x="153492" y="238692"/>
                    <a:pt x="153492" y="212539"/>
                  </a:cubicBezTo>
                  <a:cubicBezTo>
                    <a:pt x="153492" y="186386"/>
                    <a:pt x="174567" y="165311"/>
                    <a:pt x="200720" y="165311"/>
                  </a:cubicBezTo>
                  <a:close/>
                  <a:moveTo>
                    <a:pt x="187898" y="185973"/>
                  </a:moveTo>
                  <a:lnTo>
                    <a:pt x="183033" y="213323"/>
                  </a:lnTo>
                  <a:lnTo>
                    <a:pt x="192073" y="213323"/>
                  </a:lnTo>
                  <a:cubicBezTo>
                    <a:pt x="193065" y="211953"/>
                    <a:pt x="195156" y="209368"/>
                    <a:pt x="199636" y="209368"/>
                  </a:cubicBezTo>
                  <a:cubicBezTo>
                    <a:pt x="201236" y="209368"/>
                    <a:pt x="208192" y="209984"/>
                    <a:pt x="208192" y="218627"/>
                  </a:cubicBezTo>
                  <a:cubicBezTo>
                    <a:pt x="208192" y="221697"/>
                    <a:pt x="206361" y="228163"/>
                    <a:pt x="199636" y="228163"/>
                  </a:cubicBezTo>
                  <a:cubicBezTo>
                    <a:pt x="193379" y="228163"/>
                    <a:pt x="191744" y="222998"/>
                    <a:pt x="191508" y="220737"/>
                  </a:cubicBezTo>
                  <a:lnTo>
                    <a:pt x="181465" y="220737"/>
                  </a:lnTo>
                  <a:cubicBezTo>
                    <a:pt x="181370" y="226682"/>
                    <a:pt x="185652" y="236361"/>
                    <a:pt x="199844" y="236361"/>
                  </a:cubicBezTo>
                  <a:cubicBezTo>
                    <a:pt x="213328" y="236361"/>
                    <a:pt x="218223" y="225145"/>
                    <a:pt x="218223" y="218627"/>
                  </a:cubicBezTo>
                  <a:cubicBezTo>
                    <a:pt x="218223" y="215209"/>
                    <a:pt x="216423" y="201804"/>
                    <a:pt x="202957" y="201804"/>
                  </a:cubicBezTo>
                  <a:cubicBezTo>
                    <a:pt x="197266" y="201804"/>
                    <a:pt x="194636" y="204251"/>
                    <a:pt x="193272" y="205621"/>
                  </a:cubicBezTo>
                  <a:lnTo>
                    <a:pt x="193133" y="205482"/>
                  </a:lnTo>
                  <a:lnTo>
                    <a:pt x="195105" y="194240"/>
                  </a:lnTo>
                  <a:lnTo>
                    <a:pt x="215537" y="194240"/>
                  </a:lnTo>
                  <a:lnTo>
                    <a:pt x="215537" y="185973"/>
                  </a:lnTo>
                  <a:lnTo>
                    <a:pt x="187898" y="185973"/>
                  </a:lnTo>
                  <a:close/>
                  <a:moveTo>
                    <a:pt x="41325" y="194828"/>
                  </a:moveTo>
                  <a:lnTo>
                    <a:pt x="41325" y="206635"/>
                  </a:lnTo>
                  <a:lnTo>
                    <a:pt x="112248" y="206635"/>
                  </a:lnTo>
                  <a:cubicBezTo>
                    <a:pt x="109509" y="202993"/>
                    <a:pt x="107155" y="199055"/>
                    <a:pt x="105307" y="194828"/>
                  </a:cubicBezTo>
                  <a:lnTo>
                    <a:pt x="41325" y="194828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97000">
                  <a:schemeClr val="accent1"/>
                </a:gs>
              </a:gsLst>
              <a:lin ang="2700000" scaled="1"/>
            </a:gradFill>
            <a:ln w="57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Graphic 75">
              <a:extLst>
                <a:ext uri="{FF2B5EF4-FFF2-40B4-BE49-F238E27FC236}">
                  <a16:creationId xmlns:a16="http://schemas.microsoft.com/office/drawing/2014/main" id="{A577839C-42A8-02C8-AC82-82AF016E0F3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8375997" y="1227882"/>
              <a:ext cx="212527" cy="271563"/>
            </a:xfrm>
            <a:custGeom>
              <a:avLst/>
              <a:gdLst>
                <a:gd name="connsiteX0" fmla="*/ 0 w 212527"/>
                <a:gd name="connsiteY0" fmla="*/ 0 h 271563"/>
                <a:gd name="connsiteX1" fmla="*/ 0 w 212527"/>
                <a:gd name="connsiteY1" fmla="*/ 271564 h 271563"/>
                <a:gd name="connsiteX2" fmla="*/ 212527 w 212527"/>
                <a:gd name="connsiteY2" fmla="*/ 271564 h 271563"/>
                <a:gd name="connsiteX3" fmla="*/ 212527 w 212527"/>
                <a:gd name="connsiteY3" fmla="*/ 74348 h 271563"/>
                <a:gd name="connsiteX4" fmla="*/ 210867 w 212527"/>
                <a:gd name="connsiteY4" fmla="*/ 72503 h 271563"/>
                <a:gd name="connsiteX5" fmla="*/ 140025 w 212527"/>
                <a:gd name="connsiteY5" fmla="*/ 1660 h 271563"/>
                <a:gd name="connsiteX6" fmla="*/ 138179 w 212527"/>
                <a:gd name="connsiteY6" fmla="*/ 0 h 271563"/>
                <a:gd name="connsiteX7" fmla="*/ 11807 w 212527"/>
                <a:gd name="connsiteY7" fmla="*/ 11807 h 271563"/>
                <a:gd name="connsiteX8" fmla="*/ 129878 w 212527"/>
                <a:gd name="connsiteY8" fmla="*/ 11807 h 271563"/>
                <a:gd name="connsiteX9" fmla="*/ 129878 w 212527"/>
                <a:gd name="connsiteY9" fmla="*/ 82650 h 271563"/>
                <a:gd name="connsiteX10" fmla="*/ 200720 w 212527"/>
                <a:gd name="connsiteY10" fmla="*/ 82650 h 271563"/>
                <a:gd name="connsiteX11" fmla="*/ 200720 w 212527"/>
                <a:gd name="connsiteY11" fmla="*/ 259757 h 271563"/>
                <a:gd name="connsiteX12" fmla="*/ 11807 w 212527"/>
                <a:gd name="connsiteY12" fmla="*/ 259757 h 271563"/>
                <a:gd name="connsiteX13" fmla="*/ 141685 w 212527"/>
                <a:gd name="connsiteY13" fmla="*/ 20293 h 271563"/>
                <a:gd name="connsiteX14" fmla="*/ 192234 w 212527"/>
                <a:gd name="connsiteY14" fmla="*/ 70843 h 271563"/>
                <a:gd name="connsiteX15" fmla="*/ 141685 w 212527"/>
                <a:gd name="connsiteY15" fmla="*/ 70843 h 271563"/>
                <a:gd name="connsiteX16" fmla="*/ 41325 w 212527"/>
                <a:gd name="connsiteY16" fmla="*/ 47228 h 271563"/>
                <a:gd name="connsiteX17" fmla="*/ 41325 w 212527"/>
                <a:gd name="connsiteY17" fmla="*/ 59036 h 271563"/>
                <a:gd name="connsiteX18" fmla="*/ 118071 w 212527"/>
                <a:gd name="connsiteY18" fmla="*/ 59036 h 271563"/>
                <a:gd name="connsiteX19" fmla="*/ 118071 w 212527"/>
                <a:gd name="connsiteY19" fmla="*/ 47228 h 271563"/>
                <a:gd name="connsiteX20" fmla="*/ 41325 w 212527"/>
                <a:gd name="connsiteY20" fmla="*/ 70843 h 271563"/>
                <a:gd name="connsiteX21" fmla="*/ 41325 w 212527"/>
                <a:gd name="connsiteY21" fmla="*/ 82650 h 271563"/>
                <a:gd name="connsiteX22" fmla="*/ 118071 w 212527"/>
                <a:gd name="connsiteY22" fmla="*/ 82650 h 271563"/>
                <a:gd name="connsiteX23" fmla="*/ 118071 w 212527"/>
                <a:gd name="connsiteY23" fmla="*/ 70843 h 271563"/>
                <a:gd name="connsiteX24" fmla="*/ 41325 w 212527"/>
                <a:gd name="connsiteY24" fmla="*/ 94457 h 271563"/>
                <a:gd name="connsiteX25" fmla="*/ 41325 w 212527"/>
                <a:gd name="connsiteY25" fmla="*/ 106264 h 271563"/>
                <a:gd name="connsiteX26" fmla="*/ 177106 w 212527"/>
                <a:gd name="connsiteY26" fmla="*/ 106264 h 271563"/>
                <a:gd name="connsiteX27" fmla="*/ 177106 w 212527"/>
                <a:gd name="connsiteY27" fmla="*/ 94457 h 271563"/>
                <a:gd name="connsiteX28" fmla="*/ 41325 w 212527"/>
                <a:gd name="connsiteY28" fmla="*/ 118071 h 271563"/>
                <a:gd name="connsiteX29" fmla="*/ 41325 w 212527"/>
                <a:gd name="connsiteY29" fmla="*/ 129878 h 271563"/>
                <a:gd name="connsiteX30" fmla="*/ 177106 w 212527"/>
                <a:gd name="connsiteY30" fmla="*/ 129878 h 271563"/>
                <a:gd name="connsiteX31" fmla="*/ 177106 w 212527"/>
                <a:gd name="connsiteY31" fmla="*/ 118071 h 271563"/>
                <a:gd name="connsiteX32" fmla="*/ 41325 w 212527"/>
                <a:gd name="connsiteY32" fmla="*/ 141685 h 271563"/>
                <a:gd name="connsiteX33" fmla="*/ 41325 w 212527"/>
                <a:gd name="connsiteY33" fmla="*/ 153493 h 271563"/>
                <a:gd name="connsiteX34" fmla="*/ 177106 w 212527"/>
                <a:gd name="connsiteY34" fmla="*/ 153493 h 271563"/>
                <a:gd name="connsiteX35" fmla="*/ 177106 w 212527"/>
                <a:gd name="connsiteY35" fmla="*/ 141685 h 271563"/>
                <a:gd name="connsiteX36" fmla="*/ 77668 w 212527"/>
                <a:gd name="connsiteY36" fmla="*/ 168620 h 271563"/>
                <a:gd name="connsiteX37" fmla="*/ 61803 w 212527"/>
                <a:gd name="connsiteY37" fmla="*/ 178398 h 271563"/>
                <a:gd name="connsiteX38" fmla="*/ 55899 w 212527"/>
                <a:gd name="connsiteY38" fmla="*/ 198691 h 271563"/>
                <a:gd name="connsiteX39" fmla="*/ 61803 w 212527"/>
                <a:gd name="connsiteY39" fmla="*/ 218247 h 271563"/>
                <a:gd name="connsiteX40" fmla="*/ 63832 w 212527"/>
                <a:gd name="connsiteY40" fmla="*/ 220277 h 271563"/>
                <a:gd name="connsiteX41" fmla="*/ 58297 w 212527"/>
                <a:gd name="connsiteY41" fmla="*/ 225627 h 271563"/>
                <a:gd name="connsiteX42" fmla="*/ 55461 w 212527"/>
                <a:gd name="connsiteY42" fmla="*/ 231092 h 271563"/>
                <a:gd name="connsiteX43" fmla="*/ 59035 w 212527"/>
                <a:gd name="connsiteY43" fmla="*/ 236119 h 271563"/>
                <a:gd name="connsiteX44" fmla="*/ 65123 w 212527"/>
                <a:gd name="connsiteY44" fmla="*/ 235220 h 271563"/>
                <a:gd name="connsiteX45" fmla="*/ 73610 w 212527"/>
                <a:gd name="connsiteY45" fmla="*/ 227287 h 271563"/>
                <a:gd name="connsiteX46" fmla="*/ 80252 w 212527"/>
                <a:gd name="connsiteY46" fmla="*/ 229501 h 271563"/>
                <a:gd name="connsiteX47" fmla="*/ 110691 w 212527"/>
                <a:gd name="connsiteY47" fmla="*/ 214188 h 271563"/>
                <a:gd name="connsiteX48" fmla="*/ 114381 w 212527"/>
                <a:gd name="connsiteY48" fmla="*/ 208654 h 271563"/>
                <a:gd name="connsiteX49" fmla="*/ 115673 w 212527"/>
                <a:gd name="connsiteY49" fmla="*/ 212344 h 271563"/>
                <a:gd name="connsiteX50" fmla="*/ 117149 w 212527"/>
                <a:gd name="connsiteY50" fmla="*/ 215111 h 271563"/>
                <a:gd name="connsiteX51" fmla="*/ 122867 w 212527"/>
                <a:gd name="connsiteY51" fmla="*/ 218432 h 271563"/>
                <a:gd name="connsiteX52" fmla="*/ 131538 w 212527"/>
                <a:gd name="connsiteY52" fmla="*/ 214926 h 271563"/>
                <a:gd name="connsiteX53" fmla="*/ 138179 w 212527"/>
                <a:gd name="connsiteY53" fmla="*/ 209761 h 271563"/>
                <a:gd name="connsiteX54" fmla="*/ 150540 w 212527"/>
                <a:gd name="connsiteY54" fmla="*/ 203489 h 271563"/>
                <a:gd name="connsiteX55" fmla="*/ 155729 w 212527"/>
                <a:gd name="connsiteY55" fmla="*/ 200560 h 271563"/>
                <a:gd name="connsiteX56" fmla="*/ 155729 w 212527"/>
                <a:gd name="connsiteY56" fmla="*/ 194610 h 271563"/>
                <a:gd name="connsiteX57" fmla="*/ 150540 w 212527"/>
                <a:gd name="connsiteY57" fmla="*/ 191681 h 271563"/>
                <a:gd name="connsiteX58" fmla="*/ 130985 w 212527"/>
                <a:gd name="connsiteY58" fmla="*/ 200352 h 271563"/>
                <a:gd name="connsiteX59" fmla="*/ 125634 w 212527"/>
                <a:gd name="connsiteY59" fmla="*/ 204595 h 271563"/>
                <a:gd name="connsiteX60" fmla="*/ 125081 w 212527"/>
                <a:gd name="connsiteY60" fmla="*/ 203119 h 271563"/>
                <a:gd name="connsiteX61" fmla="*/ 122683 w 212527"/>
                <a:gd name="connsiteY61" fmla="*/ 197400 h 271563"/>
                <a:gd name="connsiteX62" fmla="*/ 120838 w 212527"/>
                <a:gd name="connsiteY62" fmla="*/ 194264 h 271563"/>
                <a:gd name="connsiteX63" fmla="*/ 115303 w 212527"/>
                <a:gd name="connsiteY63" fmla="*/ 191681 h 271563"/>
                <a:gd name="connsiteX64" fmla="*/ 109215 w 212527"/>
                <a:gd name="connsiteY64" fmla="*/ 195186 h 271563"/>
                <a:gd name="connsiteX65" fmla="*/ 106817 w 212527"/>
                <a:gd name="connsiteY65" fmla="*/ 198691 h 271563"/>
                <a:gd name="connsiteX66" fmla="*/ 101467 w 212527"/>
                <a:gd name="connsiteY66" fmla="*/ 206994 h 271563"/>
                <a:gd name="connsiteX67" fmla="*/ 82834 w 212527"/>
                <a:gd name="connsiteY67" fmla="*/ 217140 h 271563"/>
                <a:gd name="connsiteX68" fmla="*/ 94272 w 212527"/>
                <a:gd name="connsiteY68" fmla="*/ 186516 h 271563"/>
                <a:gd name="connsiteX69" fmla="*/ 90767 w 212527"/>
                <a:gd name="connsiteY69" fmla="*/ 174524 h 271563"/>
                <a:gd name="connsiteX70" fmla="*/ 77668 w 212527"/>
                <a:gd name="connsiteY70" fmla="*/ 168620 h 271563"/>
                <a:gd name="connsiteX71" fmla="*/ 77668 w 212527"/>
                <a:gd name="connsiteY71" fmla="*/ 180428 h 271563"/>
                <a:gd name="connsiteX72" fmla="*/ 81358 w 212527"/>
                <a:gd name="connsiteY72" fmla="*/ 181719 h 271563"/>
                <a:gd name="connsiteX73" fmla="*/ 82465 w 212527"/>
                <a:gd name="connsiteY73" fmla="*/ 186516 h 271563"/>
                <a:gd name="connsiteX74" fmla="*/ 71765 w 212527"/>
                <a:gd name="connsiteY74" fmla="*/ 211790 h 271563"/>
                <a:gd name="connsiteX75" fmla="*/ 67707 w 212527"/>
                <a:gd name="connsiteY75" fmla="*/ 198691 h 271563"/>
                <a:gd name="connsiteX76" fmla="*/ 71580 w 212527"/>
                <a:gd name="connsiteY76" fmla="*/ 184855 h 271563"/>
                <a:gd name="connsiteX77" fmla="*/ 77668 w 212527"/>
                <a:gd name="connsiteY77" fmla="*/ 180428 h 271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212527" h="271563">
                  <a:moveTo>
                    <a:pt x="0" y="0"/>
                  </a:moveTo>
                  <a:lnTo>
                    <a:pt x="0" y="271564"/>
                  </a:lnTo>
                  <a:lnTo>
                    <a:pt x="212527" y="271564"/>
                  </a:lnTo>
                  <a:lnTo>
                    <a:pt x="212527" y="74348"/>
                  </a:lnTo>
                  <a:lnTo>
                    <a:pt x="210867" y="72503"/>
                  </a:lnTo>
                  <a:lnTo>
                    <a:pt x="140025" y="1660"/>
                  </a:lnTo>
                  <a:lnTo>
                    <a:pt x="138179" y="0"/>
                  </a:lnTo>
                  <a:close/>
                  <a:moveTo>
                    <a:pt x="11807" y="11807"/>
                  </a:moveTo>
                  <a:lnTo>
                    <a:pt x="129878" y="11807"/>
                  </a:lnTo>
                  <a:lnTo>
                    <a:pt x="129878" y="82650"/>
                  </a:lnTo>
                  <a:lnTo>
                    <a:pt x="200720" y="82650"/>
                  </a:lnTo>
                  <a:lnTo>
                    <a:pt x="200720" y="259757"/>
                  </a:lnTo>
                  <a:lnTo>
                    <a:pt x="11807" y="259757"/>
                  </a:lnTo>
                  <a:close/>
                  <a:moveTo>
                    <a:pt x="141685" y="20293"/>
                  </a:moveTo>
                  <a:lnTo>
                    <a:pt x="192234" y="70843"/>
                  </a:lnTo>
                  <a:lnTo>
                    <a:pt x="141685" y="70843"/>
                  </a:lnTo>
                  <a:close/>
                  <a:moveTo>
                    <a:pt x="41325" y="47228"/>
                  </a:moveTo>
                  <a:lnTo>
                    <a:pt x="41325" y="59036"/>
                  </a:lnTo>
                  <a:lnTo>
                    <a:pt x="118071" y="59036"/>
                  </a:lnTo>
                  <a:lnTo>
                    <a:pt x="118071" y="47228"/>
                  </a:lnTo>
                  <a:close/>
                  <a:moveTo>
                    <a:pt x="41325" y="70843"/>
                  </a:moveTo>
                  <a:lnTo>
                    <a:pt x="41325" y="82650"/>
                  </a:lnTo>
                  <a:lnTo>
                    <a:pt x="118071" y="82650"/>
                  </a:lnTo>
                  <a:lnTo>
                    <a:pt x="118071" y="70843"/>
                  </a:lnTo>
                  <a:close/>
                  <a:moveTo>
                    <a:pt x="41325" y="94457"/>
                  </a:moveTo>
                  <a:lnTo>
                    <a:pt x="41325" y="106264"/>
                  </a:lnTo>
                  <a:lnTo>
                    <a:pt x="177106" y="106264"/>
                  </a:lnTo>
                  <a:lnTo>
                    <a:pt x="177106" y="94457"/>
                  </a:lnTo>
                  <a:close/>
                  <a:moveTo>
                    <a:pt x="41325" y="118071"/>
                  </a:moveTo>
                  <a:lnTo>
                    <a:pt x="41325" y="129878"/>
                  </a:lnTo>
                  <a:lnTo>
                    <a:pt x="177106" y="129878"/>
                  </a:lnTo>
                  <a:lnTo>
                    <a:pt x="177106" y="118071"/>
                  </a:lnTo>
                  <a:close/>
                  <a:moveTo>
                    <a:pt x="41325" y="141685"/>
                  </a:moveTo>
                  <a:lnTo>
                    <a:pt x="41325" y="153493"/>
                  </a:lnTo>
                  <a:lnTo>
                    <a:pt x="177106" y="153493"/>
                  </a:lnTo>
                  <a:lnTo>
                    <a:pt x="177106" y="141685"/>
                  </a:lnTo>
                  <a:close/>
                  <a:moveTo>
                    <a:pt x="77668" y="168620"/>
                  </a:moveTo>
                  <a:cubicBezTo>
                    <a:pt x="70958" y="168620"/>
                    <a:pt x="65493" y="172910"/>
                    <a:pt x="61803" y="178398"/>
                  </a:cubicBezTo>
                  <a:cubicBezTo>
                    <a:pt x="58113" y="183886"/>
                    <a:pt x="55899" y="190944"/>
                    <a:pt x="55899" y="198691"/>
                  </a:cubicBezTo>
                  <a:cubicBezTo>
                    <a:pt x="55899" y="205195"/>
                    <a:pt x="57928" y="212251"/>
                    <a:pt x="61803" y="218247"/>
                  </a:cubicBezTo>
                  <a:cubicBezTo>
                    <a:pt x="62310" y="219031"/>
                    <a:pt x="63232" y="219516"/>
                    <a:pt x="63832" y="220277"/>
                  </a:cubicBezTo>
                  <a:cubicBezTo>
                    <a:pt x="61918" y="221983"/>
                    <a:pt x="58297" y="225627"/>
                    <a:pt x="58297" y="225627"/>
                  </a:cubicBezTo>
                  <a:cubicBezTo>
                    <a:pt x="56407" y="226780"/>
                    <a:pt x="55300" y="228878"/>
                    <a:pt x="55461" y="231092"/>
                  </a:cubicBezTo>
                  <a:cubicBezTo>
                    <a:pt x="55600" y="233306"/>
                    <a:pt x="56983" y="235243"/>
                    <a:pt x="59035" y="236119"/>
                  </a:cubicBezTo>
                  <a:cubicBezTo>
                    <a:pt x="61065" y="236995"/>
                    <a:pt x="63417" y="236649"/>
                    <a:pt x="65123" y="235220"/>
                  </a:cubicBezTo>
                  <a:cubicBezTo>
                    <a:pt x="65123" y="235220"/>
                    <a:pt x="70082" y="230400"/>
                    <a:pt x="73610" y="227287"/>
                  </a:cubicBezTo>
                  <a:cubicBezTo>
                    <a:pt x="75777" y="228140"/>
                    <a:pt x="77738" y="229501"/>
                    <a:pt x="80252" y="229501"/>
                  </a:cubicBezTo>
                  <a:cubicBezTo>
                    <a:pt x="95149" y="229501"/>
                    <a:pt x="105019" y="221476"/>
                    <a:pt x="110691" y="214188"/>
                  </a:cubicBezTo>
                  <a:cubicBezTo>
                    <a:pt x="112351" y="212044"/>
                    <a:pt x="113251" y="210498"/>
                    <a:pt x="114381" y="208654"/>
                  </a:cubicBezTo>
                  <a:cubicBezTo>
                    <a:pt x="114796" y="209922"/>
                    <a:pt x="115165" y="211121"/>
                    <a:pt x="115673" y="212344"/>
                  </a:cubicBezTo>
                  <a:cubicBezTo>
                    <a:pt x="116041" y="213220"/>
                    <a:pt x="116457" y="214096"/>
                    <a:pt x="117149" y="215111"/>
                  </a:cubicBezTo>
                  <a:cubicBezTo>
                    <a:pt x="117840" y="216126"/>
                    <a:pt x="119155" y="218432"/>
                    <a:pt x="122867" y="218432"/>
                  </a:cubicBezTo>
                  <a:cubicBezTo>
                    <a:pt x="126811" y="218432"/>
                    <a:pt x="129232" y="216541"/>
                    <a:pt x="131538" y="214926"/>
                  </a:cubicBezTo>
                  <a:cubicBezTo>
                    <a:pt x="133844" y="213312"/>
                    <a:pt x="135920" y="211513"/>
                    <a:pt x="138179" y="209761"/>
                  </a:cubicBezTo>
                  <a:cubicBezTo>
                    <a:pt x="142700" y="206233"/>
                    <a:pt x="147243" y="203489"/>
                    <a:pt x="150540" y="203489"/>
                  </a:cubicBezTo>
                  <a:cubicBezTo>
                    <a:pt x="152662" y="203512"/>
                    <a:pt x="154645" y="202405"/>
                    <a:pt x="155729" y="200560"/>
                  </a:cubicBezTo>
                  <a:cubicBezTo>
                    <a:pt x="156790" y="198715"/>
                    <a:pt x="156790" y="196455"/>
                    <a:pt x="155729" y="194610"/>
                  </a:cubicBezTo>
                  <a:cubicBezTo>
                    <a:pt x="154645" y="192765"/>
                    <a:pt x="152662" y="191658"/>
                    <a:pt x="150540" y="191681"/>
                  </a:cubicBezTo>
                  <a:cubicBezTo>
                    <a:pt x="142239" y="191681"/>
                    <a:pt x="135943" y="196478"/>
                    <a:pt x="130985" y="200352"/>
                  </a:cubicBezTo>
                  <a:cubicBezTo>
                    <a:pt x="128863" y="202013"/>
                    <a:pt x="127157" y="203465"/>
                    <a:pt x="125634" y="204595"/>
                  </a:cubicBezTo>
                  <a:cubicBezTo>
                    <a:pt x="125450" y="204042"/>
                    <a:pt x="125289" y="203719"/>
                    <a:pt x="125081" y="203119"/>
                  </a:cubicBezTo>
                  <a:cubicBezTo>
                    <a:pt x="124435" y="201228"/>
                    <a:pt x="123628" y="199314"/>
                    <a:pt x="122683" y="197400"/>
                  </a:cubicBezTo>
                  <a:cubicBezTo>
                    <a:pt x="122199" y="196431"/>
                    <a:pt x="121784" y="195325"/>
                    <a:pt x="120838" y="194264"/>
                  </a:cubicBezTo>
                  <a:cubicBezTo>
                    <a:pt x="119893" y="193203"/>
                    <a:pt x="118094" y="191681"/>
                    <a:pt x="115303" y="191681"/>
                  </a:cubicBezTo>
                  <a:cubicBezTo>
                    <a:pt x="111475" y="191681"/>
                    <a:pt x="110161" y="194010"/>
                    <a:pt x="109215" y="195186"/>
                  </a:cubicBezTo>
                  <a:cubicBezTo>
                    <a:pt x="108270" y="196362"/>
                    <a:pt x="107555" y="197423"/>
                    <a:pt x="106817" y="198691"/>
                  </a:cubicBezTo>
                  <a:cubicBezTo>
                    <a:pt x="105318" y="201205"/>
                    <a:pt x="103658" y="204180"/>
                    <a:pt x="101467" y="206994"/>
                  </a:cubicBezTo>
                  <a:cubicBezTo>
                    <a:pt x="97501" y="212090"/>
                    <a:pt x="91828" y="216287"/>
                    <a:pt x="82834" y="217140"/>
                  </a:cubicBezTo>
                  <a:cubicBezTo>
                    <a:pt x="88899" y="208977"/>
                    <a:pt x="94272" y="198807"/>
                    <a:pt x="94272" y="186516"/>
                  </a:cubicBezTo>
                  <a:cubicBezTo>
                    <a:pt x="94272" y="182526"/>
                    <a:pt x="93535" y="178168"/>
                    <a:pt x="90767" y="174524"/>
                  </a:cubicBezTo>
                  <a:cubicBezTo>
                    <a:pt x="87999" y="170880"/>
                    <a:pt x="83088" y="168620"/>
                    <a:pt x="77668" y="168620"/>
                  </a:cubicBezTo>
                  <a:close/>
                  <a:moveTo>
                    <a:pt x="77668" y="180428"/>
                  </a:moveTo>
                  <a:cubicBezTo>
                    <a:pt x="80252" y="180428"/>
                    <a:pt x="80736" y="180912"/>
                    <a:pt x="81358" y="181719"/>
                  </a:cubicBezTo>
                  <a:cubicBezTo>
                    <a:pt x="81981" y="182526"/>
                    <a:pt x="82465" y="184278"/>
                    <a:pt x="82465" y="186516"/>
                  </a:cubicBezTo>
                  <a:cubicBezTo>
                    <a:pt x="82465" y="195924"/>
                    <a:pt x="77346" y="204757"/>
                    <a:pt x="71765" y="211790"/>
                  </a:cubicBezTo>
                  <a:cubicBezTo>
                    <a:pt x="69298" y="207962"/>
                    <a:pt x="67707" y="202589"/>
                    <a:pt x="67707" y="198691"/>
                  </a:cubicBezTo>
                  <a:cubicBezTo>
                    <a:pt x="67707" y="193272"/>
                    <a:pt x="69344" y="188199"/>
                    <a:pt x="71580" y="184855"/>
                  </a:cubicBezTo>
                  <a:cubicBezTo>
                    <a:pt x="73817" y="181511"/>
                    <a:pt x="76377" y="180428"/>
                    <a:pt x="77668" y="180428"/>
                  </a:cubicBez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97000">
                  <a:schemeClr val="accent1"/>
                </a:gs>
              </a:gsLst>
              <a:lin ang="2700000" scaled="1"/>
            </a:gradFill>
            <a:ln w="57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Graphic 77">
              <a:extLst>
                <a:ext uri="{FF2B5EF4-FFF2-40B4-BE49-F238E27FC236}">
                  <a16:creationId xmlns:a16="http://schemas.microsoft.com/office/drawing/2014/main" id="{2F050509-4E15-EB69-60C9-9BE0B1E25239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8391804" y="4791634"/>
              <a:ext cx="212608" cy="295177"/>
            </a:xfrm>
            <a:custGeom>
              <a:avLst/>
              <a:gdLst>
                <a:gd name="connsiteX0" fmla="*/ 129959 w 212608"/>
                <a:gd name="connsiteY0" fmla="*/ 0 h 295177"/>
                <a:gd name="connsiteX1" fmla="*/ 76274 w 212608"/>
                <a:gd name="connsiteY1" fmla="*/ 9224 h 295177"/>
                <a:gd name="connsiteX2" fmla="*/ 56534 w 212608"/>
                <a:gd name="connsiteY2" fmla="*/ 20662 h 295177"/>
                <a:gd name="connsiteX3" fmla="*/ 47310 w 212608"/>
                <a:gd name="connsiteY3" fmla="*/ 38373 h 295177"/>
                <a:gd name="connsiteX4" fmla="*/ 47494 w 212608"/>
                <a:gd name="connsiteY4" fmla="*/ 39849 h 295177"/>
                <a:gd name="connsiteX5" fmla="*/ 47310 w 212608"/>
                <a:gd name="connsiteY5" fmla="*/ 41325 h 295177"/>
                <a:gd name="connsiteX6" fmla="*/ 47310 w 212608"/>
                <a:gd name="connsiteY6" fmla="*/ 120469 h 295177"/>
                <a:gd name="connsiteX7" fmla="*/ 49662 w 212608"/>
                <a:gd name="connsiteY7" fmla="*/ 125242 h 295177"/>
                <a:gd name="connsiteX8" fmla="*/ 54873 w 212608"/>
                <a:gd name="connsiteY8" fmla="*/ 126188 h 295177"/>
                <a:gd name="connsiteX9" fmla="*/ 129959 w 212608"/>
                <a:gd name="connsiteY9" fmla="*/ 118071 h 295177"/>
                <a:gd name="connsiteX10" fmla="*/ 205045 w 212608"/>
                <a:gd name="connsiteY10" fmla="*/ 126188 h 295177"/>
                <a:gd name="connsiteX11" fmla="*/ 210256 w 212608"/>
                <a:gd name="connsiteY11" fmla="*/ 125242 h 295177"/>
                <a:gd name="connsiteX12" fmla="*/ 212608 w 212608"/>
                <a:gd name="connsiteY12" fmla="*/ 120469 h 295177"/>
                <a:gd name="connsiteX13" fmla="*/ 212608 w 212608"/>
                <a:gd name="connsiteY13" fmla="*/ 41325 h 295177"/>
                <a:gd name="connsiteX14" fmla="*/ 212424 w 212608"/>
                <a:gd name="connsiteY14" fmla="*/ 40402 h 295177"/>
                <a:gd name="connsiteX15" fmla="*/ 212424 w 212608"/>
                <a:gd name="connsiteY15" fmla="*/ 40218 h 295177"/>
                <a:gd name="connsiteX16" fmla="*/ 212424 w 212608"/>
                <a:gd name="connsiteY16" fmla="*/ 39849 h 295177"/>
                <a:gd name="connsiteX17" fmla="*/ 212608 w 212608"/>
                <a:gd name="connsiteY17" fmla="*/ 38373 h 295177"/>
                <a:gd name="connsiteX18" fmla="*/ 203384 w 212608"/>
                <a:gd name="connsiteY18" fmla="*/ 20662 h 295177"/>
                <a:gd name="connsiteX19" fmla="*/ 183644 w 212608"/>
                <a:gd name="connsiteY19" fmla="*/ 9224 h 295177"/>
                <a:gd name="connsiteX20" fmla="*/ 129959 w 212608"/>
                <a:gd name="connsiteY20" fmla="*/ 0 h 295177"/>
                <a:gd name="connsiteX21" fmla="*/ 129959 w 212608"/>
                <a:gd name="connsiteY21" fmla="*/ 11807 h 295177"/>
                <a:gd name="connsiteX22" fmla="*/ 179401 w 212608"/>
                <a:gd name="connsiteY22" fmla="*/ 20109 h 295177"/>
                <a:gd name="connsiteX23" fmla="*/ 195451 w 212608"/>
                <a:gd name="connsiteY23" fmla="*/ 29333 h 295177"/>
                <a:gd name="connsiteX24" fmla="*/ 200063 w 212608"/>
                <a:gd name="connsiteY24" fmla="*/ 35421 h 295177"/>
                <a:gd name="connsiteX25" fmla="*/ 59855 w 212608"/>
                <a:gd name="connsiteY25" fmla="*/ 35421 h 295177"/>
                <a:gd name="connsiteX26" fmla="*/ 64467 w 212608"/>
                <a:gd name="connsiteY26" fmla="*/ 29333 h 295177"/>
                <a:gd name="connsiteX27" fmla="*/ 80517 w 212608"/>
                <a:gd name="connsiteY27" fmla="*/ 20109 h 295177"/>
                <a:gd name="connsiteX28" fmla="*/ 129959 w 212608"/>
                <a:gd name="connsiteY28" fmla="*/ 11807 h 295177"/>
                <a:gd name="connsiteX29" fmla="*/ 59117 w 212608"/>
                <a:gd name="connsiteY29" fmla="*/ 47228 h 295177"/>
                <a:gd name="connsiteX30" fmla="*/ 200801 w 212608"/>
                <a:gd name="connsiteY30" fmla="*/ 47228 h 295177"/>
                <a:gd name="connsiteX31" fmla="*/ 200801 w 212608"/>
                <a:gd name="connsiteY31" fmla="*/ 113274 h 295177"/>
                <a:gd name="connsiteX32" fmla="*/ 129959 w 212608"/>
                <a:gd name="connsiteY32" fmla="*/ 106264 h 295177"/>
                <a:gd name="connsiteX33" fmla="*/ 59117 w 212608"/>
                <a:gd name="connsiteY33" fmla="*/ 113274 h 295177"/>
                <a:gd name="connsiteX34" fmla="*/ 129959 w 212608"/>
                <a:gd name="connsiteY34" fmla="*/ 53132 h 295177"/>
                <a:gd name="connsiteX35" fmla="*/ 106345 w 212608"/>
                <a:gd name="connsiteY35" fmla="*/ 76746 h 295177"/>
                <a:gd name="connsiteX36" fmla="*/ 129959 w 212608"/>
                <a:gd name="connsiteY36" fmla="*/ 100360 h 295177"/>
                <a:gd name="connsiteX37" fmla="*/ 153573 w 212608"/>
                <a:gd name="connsiteY37" fmla="*/ 76746 h 295177"/>
                <a:gd name="connsiteX38" fmla="*/ 129959 w 212608"/>
                <a:gd name="connsiteY38" fmla="*/ 53132 h 295177"/>
                <a:gd name="connsiteX39" fmla="*/ 129959 w 212608"/>
                <a:gd name="connsiteY39" fmla="*/ 64939 h 295177"/>
                <a:gd name="connsiteX40" fmla="*/ 141766 w 212608"/>
                <a:gd name="connsiteY40" fmla="*/ 76746 h 295177"/>
                <a:gd name="connsiteX41" fmla="*/ 129959 w 212608"/>
                <a:gd name="connsiteY41" fmla="*/ 88553 h 295177"/>
                <a:gd name="connsiteX42" fmla="*/ 118152 w 212608"/>
                <a:gd name="connsiteY42" fmla="*/ 76746 h 295177"/>
                <a:gd name="connsiteX43" fmla="*/ 129959 w 212608"/>
                <a:gd name="connsiteY43" fmla="*/ 64939 h 295177"/>
                <a:gd name="connsiteX44" fmla="*/ 129959 w 212608"/>
                <a:gd name="connsiteY44" fmla="*/ 124159 h 295177"/>
                <a:gd name="connsiteX45" fmla="*/ 116676 w 212608"/>
                <a:gd name="connsiteY45" fmla="*/ 208469 h 295177"/>
                <a:gd name="connsiteX46" fmla="*/ 117414 w 212608"/>
                <a:gd name="connsiteY46" fmla="*/ 210129 h 295177"/>
                <a:gd name="connsiteX47" fmla="*/ 122395 w 212608"/>
                <a:gd name="connsiteY47" fmla="*/ 222305 h 295177"/>
                <a:gd name="connsiteX48" fmla="*/ 125900 w 212608"/>
                <a:gd name="connsiteY48" fmla="*/ 226179 h 295177"/>
                <a:gd name="connsiteX49" fmla="*/ 135863 w 212608"/>
                <a:gd name="connsiteY49" fmla="*/ 230238 h 295177"/>
                <a:gd name="connsiteX50" fmla="*/ 138630 w 212608"/>
                <a:gd name="connsiteY50" fmla="*/ 236511 h 295177"/>
                <a:gd name="connsiteX51" fmla="*/ 122395 w 212608"/>
                <a:gd name="connsiteY51" fmla="*/ 276913 h 295177"/>
                <a:gd name="connsiteX52" fmla="*/ 116122 w 212608"/>
                <a:gd name="connsiteY52" fmla="*/ 279680 h 295177"/>
                <a:gd name="connsiteX53" fmla="*/ 105976 w 212608"/>
                <a:gd name="connsiteY53" fmla="*/ 275622 h 295177"/>
                <a:gd name="connsiteX54" fmla="*/ 100810 w 212608"/>
                <a:gd name="connsiteY54" fmla="*/ 276175 h 295177"/>
                <a:gd name="connsiteX55" fmla="*/ 57457 w 212608"/>
                <a:gd name="connsiteY55" fmla="*/ 279864 h 295177"/>
                <a:gd name="connsiteX56" fmla="*/ 28492 w 212608"/>
                <a:gd name="connsiteY56" fmla="*/ 247211 h 295177"/>
                <a:gd name="connsiteX57" fmla="*/ 24987 w 212608"/>
                <a:gd name="connsiteY57" fmla="*/ 243337 h 295177"/>
                <a:gd name="connsiteX58" fmla="*/ 14840 w 212608"/>
                <a:gd name="connsiteY58" fmla="*/ 239278 h 295177"/>
                <a:gd name="connsiteX59" fmla="*/ 12073 w 212608"/>
                <a:gd name="connsiteY59" fmla="*/ 233006 h 295177"/>
                <a:gd name="connsiteX60" fmla="*/ 28307 w 212608"/>
                <a:gd name="connsiteY60" fmla="*/ 192419 h 295177"/>
                <a:gd name="connsiteX61" fmla="*/ 32735 w 212608"/>
                <a:gd name="connsiteY61" fmla="*/ 189467 h 295177"/>
                <a:gd name="connsiteX62" fmla="*/ 34581 w 212608"/>
                <a:gd name="connsiteY62" fmla="*/ 189835 h 295177"/>
                <a:gd name="connsiteX63" fmla="*/ 44912 w 212608"/>
                <a:gd name="connsiteY63" fmla="*/ 193895 h 295177"/>
                <a:gd name="connsiteX64" fmla="*/ 50077 w 212608"/>
                <a:gd name="connsiteY64" fmla="*/ 193341 h 295177"/>
                <a:gd name="connsiteX65" fmla="*/ 62069 w 212608"/>
                <a:gd name="connsiteY65" fmla="*/ 188175 h 295177"/>
                <a:gd name="connsiteX66" fmla="*/ 64098 w 212608"/>
                <a:gd name="connsiteY66" fmla="*/ 187068 h 295177"/>
                <a:gd name="connsiteX67" fmla="*/ 108005 w 212608"/>
                <a:gd name="connsiteY67" fmla="*/ 124528 h 295177"/>
                <a:gd name="connsiteX68" fmla="*/ 95092 w 212608"/>
                <a:gd name="connsiteY68" fmla="*/ 125450 h 295177"/>
                <a:gd name="connsiteX69" fmla="*/ 94169 w 212608"/>
                <a:gd name="connsiteY69" fmla="*/ 127664 h 295177"/>
                <a:gd name="connsiteX70" fmla="*/ 57825 w 212608"/>
                <a:gd name="connsiteY70" fmla="*/ 177106 h 295177"/>
                <a:gd name="connsiteX71" fmla="*/ 46572 w 212608"/>
                <a:gd name="connsiteY71" fmla="*/ 181903 h 295177"/>
                <a:gd name="connsiteX72" fmla="*/ 39008 w 212608"/>
                <a:gd name="connsiteY72" fmla="*/ 178766 h 295177"/>
                <a:gd name="connsiteX73" fmla="*/ 32735 w 212608"/>
                <a:gd name="connsiteY73" fmla="*/ 177660 h 295177"/>
                <a:gd name="connsiteX74" fmla="*/ 17423 w 212608"/>
                <a:gd name="connsiteY74" fmla="*/ 187991 h 295177"/>
                <a:gd name="connsiteX75" fmla="*/ 1188 w 212608"/>
                <a:gd name="connsiteY75" fmla="*/ 228578 h 295177"/>
                <a:gd name="connsiteX76" fmla="*/ 10413 w 212608"/>
                <a:gd name="connsiteY76" fmla="*/ 250163 h 295177"/>
                <a:gd name="connsiteX77" fmla="*/ 17976 w 212608"/>
                <a:gd name="connsiteY77" fmla="*/ 253114 h 295177"/>
                <a:gd name="connsiteX78" fmla="*/ 53029 w 212608"/>
                <a:gd name="connsiteY78" fmla="*/ 290934 h 295177"/>
                <a:gd name="connsiteX79" fmla="*/ 75536 w 212608"/>
                <a:gd name="connsiteY79" fmla="*/ 295177 h 295177"/>
                <a:gd name="connsiteX80" fmla="*/ 104315 w 212608"/>
                <a:gd name="connsiteY80" fmla="*/ 287613 h 295177"/>
                <a:gd name="connsiteX81" fmla="*/ 111879 w 212608"/>
                <a:gd name="connsiteY81" fmla="*/ 290749 h 295177"/>
                <a:gd name="connsiteX82" fmla="*/ 117968 w 212608"/>
                <a:gd name="connsiteY82" fmla="*/ 291856 h 295177"/>
                <a:gd name="connsiteX83" fmla="*/ 133465 w 212608"/>
                <a:gd name="connsiteY83" fmla="*/ 281340 h 295177"/>
                <a:gd name="connsiteX84" fmla="*/ 149514 w 212608"/>
                <a:gd name="connsiteY84" fmla="*/ 240938 h 295177"/>
                <a:gd name="connsiteX85" fmla="*/ 140290 w 212608"/>
                <a:gd name="connsiteY85" fmla="*/ 219353 h 295177"/>
                <a:gd name="connsiteX86" fmla="*/ 132911 w 212608"/>
                <a:gd name="connsiteY86" fmla="*/ 216401 h 295177"/>
                <a:gd name="connsiteX87" fmla="*/ 127929 w 212608"/>
                <a:gd name="connsiteY87" fmla="*/ 204964 h 295177"/>
                <a:gd name="connsiteX88" fmla="*/ 139552 w 212608"/>
                <a:gd name="connsiteY88" fmla="*/ 132092 h 295177"/>
                <a:gd name="connsiteX89" fmla="*/ 142688 w 212608"/>
                <a:gd name="connsiteY89" fmla="*/ 124159 h 295177"/>
                <a:gd name="connsiteX90" fmla="*/ 129959 w 212608"/>
                <a:gd name="connsiteY90" fmla="*/ 124159 h 295177"/>
                <a:gd name="connsiteX91" fmla="*/ 75536 w 212608"/>
                <a:gd name="connsiteY91" fmla="*/ 196109 h 295177"/>
                <a:gd name="connsiteX92" fmla="*/ 39561 w 212608"/>
                <a:gd name="connsiteY92" fmla="*/ 220461 h 295177"/>
                <a:gd name="connsiteX93" fmla="*/ 61146 w 212608"/>
                <a:gd name="connsiteY93" fmla="*/ 270641 h 295177"/>
                <a:gd name="connsiteX94" fmla="*/ 75536 w 212608"/>
                <a:gd name="connsiteY94" fmla="*/ 273408 h 295177"/>
                <a:gd name="connsiteX95" fmla="*/ 111326 w 212608"/>
                <a:gd name="connsiteY95" fmla="*/ 249056 h 295177"/>
                <a:gd name="connsiteX96" fmla="*/ 110957 w 212608"/>
                <a:gd name="connsiteY96" fmla="*/ 219538 h 295177"/>
                <a:gd name="connsiteX97" fmla="*/ 89741 w 212608"/>
                <a:gd name="connsiteY97" fmla="*/ 198876 h 295177"/>
                <a:gd name="connsiteX98" fmla="*/ 75536 w 212608"/>
                <a:gd name="connsiteY98" fmla="*/ 196109 h 295177"/>
                <a:gd name="connsiteX99" fmla="*/ 75536 w 212608"/>
                <a:gd name="connsiteY99" fmla="*/ 207916 h 295177"/>
                <a:gd name="connsiteX100" fmla="*/ 85314 w 212608"/>
                <a:gd name="connsiteY100" fmla="*/ 209945 h 295177"/>
                <a:gd name="connsiteX101" fmla="*/ 100072 w 212608"/>
                <a:gd name="connsiteY101" fmla="*/ 224150 h 295177"/>
                <a:gd name="connsiteX102" fmla="*/ 100257 w 212608"/>
                <a:gd name="connsiteY102" fmla="*/ 244628 h 295177"/>
                <a:gd name="connsiteX103" fmla="*/ 75536 w 212608"/>
                <a:gd name="connsiteY103" fmla="*/ 261601 h 295177"/>
                <a:gd name="connsiteX104" fmla="*/ 65574 w 212608"/>
                <a:gd name="connsiteY104" fmla="*/ 259572 h 295177"/>
                <a:gd name="connsiteX105" fmla="*/ 50630 w 212608"/>
                <a:gd name="connsiteY105" fmla="*/ 224888 h 295177"/>
                <a:gd name="connsiteX106" fmla="*/ 75536 w 212608"/>
                <a:gd name="connsiteY106" fmla="*/ 207916 h 295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212608" h="295177">
                  <a:moveTo>
                    <a:pt x="129959" y="0"/>
                  </a:moveTo>
                  <a:cubicBezTo>
                    <a:pt x="111234" y="0"/>
                    <a:pt x="91747" y="3228"/>
                    <a:pt x="76274" y="9224"/>
                  </a:cubicBezTo>
                  <a:cubicBezTo>
                    <a:pt x="68549" y="12222"/>
                    <a:pt x="61746" y="15935"/>
                    <a:pt x="56534" y="20662"/>
                  </a:cubicBezTo>
                  <a:cubicBezTo>
                    <a:pt x="51322" y="25390"/>
                    <a:pt x="47679" y="31432"/>
                    <a:pt x="47310" y="38373"/>
                  </a:cubicBezTo>
                  <a:cubicBezTo>
                    <a:pt x="47310" y="38880"/>
                    <a:pt x="47379" y="39365"/>
                    <a:pt x="47494" y="39849"/>
                  </a:cubicBezTo>
                  <a:cubicBezTo>
                    <a:pt x="47379" y="40333"/>
                    <a:pt x="47310" y="40817"/>
                    <a:pt x="47310" y="41325"/>
                  </a:cubicBezTo>
                  <a:lnTo>
                    <a:pt x="47310" y="120469"/>
                  </a:lnTo>
                  <a:cubicBezTo>
                    <a:pt x="47287" y="122337"/>
                    <a:pt x="48163" y="124112"/>
                    <a:pt x="49662" y="125242"/>
                  </a:cubicBezTo>
                  <a:cubicBezTo>
                    <a:pt x="51138" y="126349"/>
                    <a:pt x="53075" y="126718"/>
                    <a:pt x="54873" y="126188"/>
                  </a:cubicBezTo>
                  <a:cubicBezTo>
                    <a:pt x="54873" y="126188"/>
                    <a:pt x="83054" y="118071"/>
                    <a:pt x="129959" y="118071"/>
                  </a:cubicBezTo>
                  <a:cubicBezTo>
                    <a:pt x="176864" y="118071"/>
                    <a:pt x="205045" y="126188"/>
                    <a:pt x="205045" y="126188"/>
                  </a:cubicBezTo>
                  <a:cubicBezTo>
                    <a:pt x="206843" y="126718"/>
                    <a:pt x="208780" y="126349"/>
                    <a:pt x="210256" y="125242"/>
                  </a:cubicBezTo>
                  <a:cubicBezTo>
                    <a:pt x="211755" y="124112"/>
                    <a:pt x="212631" y="122337"/>
                    <a:pt x="212608" y="120469"/>
                  </a:cubicBezTo>
                  <a:lnTo>
                    <a:pt x="212608" y="41325"/>
                  </a:lnTo>
                  <a:cubicBezTo>
                    <a:pt x="212562" y="41002"/>
                    <a:pt x="212516" y="40702"/>
                    <a:pt x="212424" y="40402"/>
                  </a:cubicBezTo>
                  <a:cubicBezTo>
                    <a:pt x="212424" y="40333"/>
                    <a:pt x="212424" y="40287"/>
                    <a:pt x="212424" y="40218"/>
                  </a:cubicBezTo>
                  <a:cubicBezTo>
                    <a:pt x="212424" y="40103"/>
                    <a:pt x="212424" y="39964"/>
                    <a:pt x="212424" y="39849"/>
                  </a:cubicBezTo>
                  <a:cubicBezTo>
                    <a:pt x="212539" y="39365"/>
                    <a:pt x="212608" y="38880"/>
                    <a:pt x="212608" y="38373"/>
                  </a:cubicBezTo>
                  <a:cubicBezTo>
                    <a:pt x="212239" y="31432"/>
                    <a:pt x="208596" y="25390"/>
                    <a:pt x="203384" y="20662"/>
                  </a:cubicBezTo>
                  <a:cubicBezTo>
                    <a:pt x="198172" y="15935"/>
                    <a:pt x="191369" y="12222"/>
                    <a:pt x="183644" y="9224"/>
                  </a:cubicBezTo>
                  <a:cubicBezTo>
                    <a:pt x="168171" y="3228"/>
                    <a:pt x="148684" y="0"/>
                    <a:pt x="129959" y="0"/>
                  </a:cubicBezTo>
                  <a:close/>
                  <a:moveTo>
                    <a:pt x="129959" y="11807"/>
                  </a:moveTo>
                  <a:cubicBezTo>
                    <a:pt x="147324" y="11807"/>
                    <a:pt x="165772" y="14828"/>
                    <a:pt x="179401" y="20109"/>
                  </a:cubicBezTo>
                  <a:cubicBezTo>
                    <a:pt x="186204" y="22761"/>
                    <a:pt x="191808" y="26012"/>
                    <a:pt x="195451" y="29333"/>
                  </a:cubicBezTo>
                  <a:cubicBezTo>
                    <a:pt x="197780" y="31432"/>
                    <a:pt x="199256" y="33415"/>
                    <a:pt x="200063" y="35421"/>
                  </a:cubicBezTo>
                  <a:lnTo>
                    <a:pt x="59855" y="35421"/>
                  </a:lnTo>
                  <a:cubicBezTo>
                    <a:pt x="60662" y="33415"/>
                    <a:pt x="62138" y="31432"/>
                    <a:pt x="64467" y="29333"/>
                  </a:cubicBezTo>
                  <a:cubicBezTo>
                    <a:pt x="68110" y="26012"/>
                    <a:pt x="73714" y="22761"/>
                    <a:pt x="80517" y="20109"/>
                  </a:cubicBezTo>
                  <a:cubicBezTo>
                    <a:pt x="94146" y="14828"/>
                    <a:pt x="112594" y="11807"/>
                    <a:pt x="129959" y="11807"/>
                  </a:cubicBezTo>
                  <a:close/>
                  <a:moveTo>
                    <a:pt x="59117" y="47228"/>
                  </a:moveTo>
                  <a:lnTo>
                    <a:pt x="200801" y="47228"/>
                  </a:lnTo>
                  <a:lnTo>
                    <a:pt x="200801" y="113274"/>
                  </a:lnTo>
                  <a:cubicBezTo>
                    <a:pt x="192246" y="111222"/>
                    <a:pt x="169577" y="106264"/>
                    <a:pt x="129959" y="106264"/>
                  </a:cubicBezTo>
                  <a:cubicBezTo>
                    <a:pt x="90341" y="106264"/>
                    <a:pt x="67672" y="111222"/>
                    <a:pt x="59117" y="113274"/>
                  </a:cubicBezTo>
                  <a:close/>
                  <a:moveTo>
                    <a:pt x="129959" y="53132"/>
                  </a:moveTo>
                  <a:cubicBezTo>
                    <a:pt x="116976" y="53132"/>
                    <a:pt x="106345" y="63763"/>
                    <a:pt x="106345" y="76746"/>
                  </a:cubicBezTo>
                  <a:cubicBezTo>
                    <a:pt x="106345" y="89729"/>
                    <a:pt x="116976" y="100360"/>
                    <a:pt x="129959" y="100360"/>
                  </a:cubicBezTo>
                  <a:cubicBezTo>
                    <a:pt x="142942" y="100360"/>
                    <a:pt x="153573" y="89729"/>
                    <a:pt x="153573" y="76746"/>
                  </a:cubicBezTo>
                  <a:cubicBezTo>
                    <a:pt x="153573" y="63763"/>
                    <a:pt x="142942" y="53132"/>
                    <a:pt x="129959" y="53132"/>
                  </a:cubicBezTo>
                  <a:close/>
                  <a:moveTo>
                    <a:pt x="129959" y="64939"/>
                  </a:moveTo>
                  <a:cubicBezTo>
                    <a:pt x="136554" y="64939"/>
                    <a:pt x="141766" y="70151"/>
                    <a:pt x="141766" y="76746"/>
                  </a:cubicBezTo>
                  <a:cubicBezTo>
                    <a:pt x="141766" y="83341"/>
                    <a:pt x="136554" y="88553"/>
                    <a:pt x="129959" y="88553"/>
                  </a:cubicBezTo>
                  <a:cubicBezTo>
                    <a:pt x="123364" y="88553"/>
                    <a:pt x="118152" y="83341"/>
                    <a:pt x="118152" y="76746"/>
                  </a:cubicBezTo>
                  <a:cubicBezTo>
                    <a:pt x="118152" y="70151"/>
                    <a:pt x="123364" y="64939"/>
                    <a:pt x="129959" y="64939"/>
                  </a:cubicBezTo>
                  <a:close/>
                  <a:moveTo>
                    <a:pt x="129959" y="124159"/>
                  </a:moveTo>
                  <a:cubicBezTo>
                    <a:pt x="118706" y="150978"/>
                    <a:pt x="109850" y="188429"/>
                    <a:pt x="116676" y="208469"/>
                  </a:cubicBezTo>
                  <a:cubicBezTo>
                    <a:pt x="116814" y="209069"/>
                    <a:pt x="117091" y="209576"/>
                    <a:pt x="117414" y="210129"/>
                  </a:cubicBezTo>
                  <a:cubicBezTo>
                    <a:pt x="119605" y="213888"/>
                    <a:pt x="121242" y="218039"/>
                    <a:pt x="122395" y="222305"/>
                  </a:cubicBezTo>
                  <a:cubicBezTo>
                    <a:pt x="122880" y="224104"/>
                    <a:pt x="124171" y="225487"/>
                    <a:pt x="125900" y="226179"/>
                  </a:cubicBezTo>
                  <a:lnTo>
                    <a:pt x="135863" y="230238"/>
                  </a:lnTo>
                  <a:cubicBezTo>
                    <a:pt x="138353" y="231253"/>
                    <a:pt x="139621" y="234020"/>
                    <a:pt x="138630" y="236511"/>
                  </a:cubicBezTo>
                  <a:lnTo>
                    <a:pt x="122395" y="276913"/>
                  </a:lnTo>
                  <a:cubicBezTo>
                    <a:pt x="121427" y="279334"/>
                    <a:pt x="118590" y="280672"/>
                    <a:pt x="116122" y="279680"/>
                  </a:cubicBezTo>
                  <a:lnTo>
                    <a:pt x="105976" y="275622"/>
                  </a:lnTo>
                  <a:cubicBezTo>
                    <a:pt x="104246" y="274930"/>
                    <a:pt x="102401" y="275207"/>
                    <a:pt x="100810" y="276175"/>
                  </a:cubicBezTo>
                  <a:cubicBezTo>
                    <a:pt x="87597" y="284246"/>
                    <a:pt x="71501" y="285469"/>
                    <a:pt x="57457" y="279864"/>
                  </a:cubicBezTo>
                  <a:cubicBezTo>
                    <a:pt x="43113" y="274146"/>
                    <a:pt x="32505" y="262223"/>
                    <a:pt x="28492" y="247211"/>
                  </a:cubicBezTo>
                  <a:cubicBezTo>
                    <a:pt x="28008" y="245412"/>
                    <a:pt x="26716" y="244028"/>
                    <a:pt x="24987" y="243337"/>
                  </a:cubicBezTo>
                  <a:lnTo>
                    <a:pt x="14840" y="239278"/>
                  </a:lnTo>
                  <a:cubicBezTo>
                    <a:pt x="12373" y="238309"/>
                    <a:pt x="11081" y="235473"/>
                    <a:pt x="12073" y="233006"/>
                  </a:cubicBezTo>
                  <a:lnTo>
                    <a:pt x="28307" y="192419"/>
                  </a:lnTo>
                  <a:cubicBezTo>
                    <a:pt x="29045" y="190573"/>
                    <a:pt x="30752" y="189467"/>
                    <a:pt x="32735" y="189467"/>
                  </a:cubicBezTo>
                  <a:cubicBezTo>
                    <a:pt x="33358" y="189467"/>
                    <a:pt x="34004" y="189605"/>
                    <a:pt x="34581" y="189835"/>
                  </a:cubicBezTo>
                  <a:lnTo>
                    <a:pt x="44912" y="193895"/>
                  </a:lnTo>
                  <a:cubicBezTo>
                    <a:pt x="46641" y="194586"/>
                    <a:pt x="48486" y="194310"/>
                    <a:pt x="50077" y="193341"/>
                  </a:cubicBezTo>
                  <a:cubicBezTo>
                    <a:pt x="53928" y="190989"/>
                    <a:pt x="57987" y="189351"/>
                    <a:pt x="62069" y="188175"/>
                  </a:cubicBezTo>
                  <a:cubicBezTo>
                    <a:pt x="62829" y="187968"/>
                    <a:pt x="63498" y="187553"/>
                    <a:pt x="64098" y="187068"/>
                  </a:cubicBezTo>
                  <a:cubicBezTo>
                    <a:pt x="83400" y="174685"/>
                    <a:pt x="98943" y="145928"/>
                    <a:pt x="108005" y="124528"/>
                  </a:cubicBezTo>
                  <a:cubicBezTo>
                    <a:pt x="103439" y="124781"/>
                    <a:pt x="99127" y="125081"/>
                    <a:pt x="95092" y="125450"/>
                  </a:cubicBezTo>
                  <a:cubicBezTo>
                    <a:pt x="94769" y="126234"/>
                    <a:pt x="94423" y="127064"/>
                    <a:pt x="94169" y="127664"/>
                  </a:cubicBezTo>
                  <a:cubicBezTo>
                    <a:pt x="90456" y="136196"/>
                    <a:pt x="76896" y="164815"/>
                    <a:pt x="57825" y="177106"/>
                  </a:cubicBezTo>
                  <a:cubicBezTo>
                    <a:pt x="53997" y="178282"/>
                    <a:pt x="50215" y="179897"/>
                    <a:pt x="46572" y="181903"/>
                  </a:cubicBezTo>
                  <a:lnTo>
                    <a:pt x="39008" y="178766"/>
                  </a:lnTo>
                  <a:cubicBezTo>
                    <a:pt x="37025" y="177982"/>
                    <a:pt x="34857" y="177660"/>
                    <a:pt x="32735" y="177660"/>
                  </a:cubicBezTo>
                  <a:cubicBezTo>
                    <a:pt x="25886" y="177660"/>
                    <a:pt x="19960" y="181649"/>
                    <a:pt x="17423" y="187991"/>
                  </a:cubicBezTo>
                  <a:lnTo>
                    <a:pt x="1188" y="228578"/>
                  </a:lnTo>
                  <a:cubicBezTo>
                    <a:pt x="-2201" y="237110"/>
                    <a:pt x="1903" y="246773"/>
                    <a:pt x="10413" y="250163"/>
                  </a:cubicBezTo>
                  <a:lnTo>
                    <a:pt x="17976" y="253114"/>
                  </a:lnTo>
                  <a:cubicBezTo>
                    <a:pt x="23488" y="270387"/>
                    <a:pt x="36126" y="284177"/>
                    <a:pt x="53029" y="290934"/>
                  </a:cubicBezTo>
                  <a:cubicBezTo>
                    <a:pt x="60201" y="293816"/>
                    <a:pt x="67857" y="295177"/>
                    <a:pt x="75536" y="295177"/>
                  </a:cubicBezTo>
                  <a:cubicBezTo>
                    <a:pt x="85521" y="295177"/>
                    <a:pt x="95345" y="292502"/>
                    <a:pt x="104315" y="287613"/>
                  </a:cubicBezTo>
                  <a:lnTo>
                    <a:pt x="111879" y="290749"/>
                  </a:lnTo>
                  <a:cubicBezTo>
                    <a:pt x="113862" y="291556"/>
                    <a:pt x="115846" y="291856"/>
                    <a:pt x="117968" y="291856"/>
                  </a:cubicBezTo>
                  <a:cubicBezTo>
                    <a:pt x="124793" y="291856"/>
                    <a:pt x="130905" y="287706"/>
                    <a:pt x="133465" y="281340"/>
                  </a:cubicBezTo>
                  <a:lnTo>
                    <a:pt x="149514" y="240938"/>
                  </a:lnTo>
                  <a:cubicBezTo>
                    <a:pt x="152927" y="232429"/>
                    <a:pt x="148823" y="222790"/>
                    <a:pt x="140290" y="219353"/>
                  </a:cubicBezTo>
                  <a:lnTo>
                    <a:pt x="132911" y="216401"/>
                  </a:lnTo>
                  <a:cubicBezTo>
                    <a:pt x="131643" y="212412"/>
                    <a:pt x="129982" y="208584"/>
                    <a:pt x="127929" y="204964"/>
                  </a:cubicBezTo>
                  <a:cubicBezTo>
                    <a:pt x="122280" y="189097"/>
                    <a:pt x="130167" y="156928"/>
                    <a:pt x="139552" y="132092"/>
                  </a:cubicBezTo>
                  <a:cubicBezTo>
                    <a:pt x="139967" y="130985"/>
                    <a:pt x="141397" y="127364"/>
                    <a:pt x="142688" y="124159"/>
                  </a:cubicBezTo>
                  <a:cubicBezTo>
                    <a:pt x="139967" y="124066"/>
                    <a:pt x="129959" y="124159"/>
                    <a:pt x="129959" y="124159"/>
                  </a:cubicBezTo>
                  <a:close/>
                  <a:moveTo>
                    <a:pt x="75536" y="196109"/>
                  </a:moveTo>
                  <a:cubicBezTo>
                    <a:pt x="59717" y="196109"/>
                    <a:pt x="45442" y="205771"/>
                    <a:pt x="39561" y="220461"/>
                  </a:cubicBezTo>
                  <a:cubicBezTo>
                    <a:pt x="31698" y="240177"/>
                    <a:pt x="41429" y="262777"/>
                    <a:pt x="61146" y="270641"/>
                  </a:cubicBezTo>
                  <a:cubicBezTo>
                    <a:pt x="65735" y="272462"/>
                    <a:pt x="70647" y="273408"/>
                    <a:pt x="75536" y="273408"/>
                  </a:cubicBezTo>
                  <a:cubicBezTo>
                    <a:pt x="91355" y="273408"/>
                    <a:pt x="105446" y="263745"/>
                    <a:pt x="111326" y="249056"/>
                  </a:cubicBezTo>
                  <a:cubicBezTo>
                    <a:pt x="115131" y="239508"/>
                    <a:pt x="115016" y="228970"/>
                    <a:pt x="110957" y="219538"/>
                  </a:cubicBezTo>
                  <a:cubicBezTo>
                    <a:pt x="106922" y="210106"/>
                    <a:pt x="99288" y="202680"/>
                    <a:pt x="89741" y="198876"/>
                  </a:cubicBezTo>
                  <a:cubicBezTo>
                    <a:pt x="85152" y="197031"/>
                    <a:pt x="80425" y="196109"/>
                    <a:pt x="75536" y="196109"/>
                  </a:cubicBezTo>
                  <a:close/>
                  <a:moveTo>
                    <a:pt x="75536" y="207916"/>
                  </a:moveTo>
                  <a:cubicBezTo>
                    <a:pt x="78926" y="207916"/>
                    <a:pt x="82085" y="208654"/>
                    <a:pt x="85314" y="209945"/>
                  </a:cubicBezTo>
                  <a:cubicBezTo>
                    <a:pt x="92024" y="212620"/>
                    <a:pt x="97236" y="217555"/>
                    <a:pt x="100072" y="224150"/>
                  </a:cubicBezTo>
                  <a:cubicBezTo>
                    <a:pt x="102909" y="230745"/>
                    <a:pt x="102932" y="237917"/>
                    <a:pt x="100257" y="244628"/>
                  </a:cubicBezTo>
                  <a:cubicBezTo>
                    <a:pt x="96129" y="254936"/>
                    <a:pt x="86628" y="261601"/>
                    <a:pt x="75536" y="261601"/>
                  </a:cubicBezTo>
                  <a:cubicBezTo>
                    <a:pt x="72146" y="261601"/>
                    <a:pt x="68802" y="260863"/>
                    <a:pt x="65574" y="259572"/>
                  </a:cubicBezTo>
                  <a:cubicBezTo>
                    <a:pt x="51806" y="254083"/>
                    <a:pt x="45142" y="238655"/>
                    <a:pt x="50630" y="224888"/>
                  </a:cubicBezTo>
                  <a:cubicBezTo>
                    <a:pt x="54758" y="214580"/>
                    <a:pt x="64444" y="207916"/>
                    <a:pt x="75536" y="207916"/>
                  </a:cubicBez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97000">
                  <a:schemeClr val="accent1"/>
                </a:gs>
              </a:gsLst>
              <a:lin ang="2700000" scaled="1"/>
            </a:gradFill>
            <a:ln w="57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Graphic 79">
              <a:extLst>
                <a:ext uri="{FF2B5EF4-FFF2-40B4-BE49-F238E27FC236}">
                  <a16:creationId xmlns:a16="http://schemas.microsoft.com/office/drawing/2014/main" id="{750E8045-CB31-5706-897A-62C868AC26C4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636623" y="4805416"/>
              <a:ext cx="265655" cy="271561"/>
            </a:xfrm>
            <a:custGeom>
              <a:avLst/>
              <a:gdLst>
                <a:gd name="connsiteX0" fmla="*/ 129875 w 265655"/>
                <a:gd name="connsiteY0" fmla="*/ 0 h 271561"/>
                <a:gd name="connsiteX1" fmla="*/ 76743 w 265655"/>
                <a:gd name="connsiteY1" fmla="*/ 18621 h 271561"/>
                <a:gd name="connsiteX2" fmla="*/ 59033 w 265655"/>
                <a:gd name="connsiteY2" fmla="*/ 61987 h 271561"/>
                <a:gd name="connsiteX3" fmla="*/ 63933 w 265655"/>
                <a:gd name="connsiteY3" fmla="*/ 82868 h 271561"/>
                <a:gd name="connsiteX4" fmla="*/ 59056 w 265655"/>
                <a:gd name="connsiteY4" fmla="*/ 97166 h 271561"/>
                <a:gd name="connsiteX5" fmla="*/ 59091 w 265655"/>
                <a:gd name="connsiteY5" fmla="*/ 97466 h 271561"/>
                <a:gd name="connsiteX6" fmla="*/ 64959 w 265655"/>
                <a:gd name="connsiteY6" fmla="*/ 113597 h 271561"/>
                <a:gd name="connsiteX7" fmla="*/ 70621 w 265655"/>
                <a:gd name="connsiteY7" fmla="*/ 118232 h 271561"/>
                <a:gd name="connsiteX8" fmla="*/ 75440 w 265655"/>
                <a:gd name="connsiteY8" fmla="*/ 133901 h 271561"/>
                <a:gd name="connsiteX9" fmla="*/ 82647 w 265655"/>
                <a:gd name="connsiteY9" fmla="*/ 143206 h 271561"/>
                <a:gd name="connsiteX10" fmla="*/ 82647 w 265655"/>
                <a:gd name="connsiteY10" fmla="*/ 166844 h 271561"/>
                <a:gd name="connsiteX11" fmla="*/ 69399 w 265655"/>
                <a:gd name="connsiteY11" fmla="*/ 179077 h 271561"/>
                <a:gd name="connsiteX12" fmla="*/ 42498 w 265655"/>
                <a:gd name="connsiteY12" fmla="*/ 190181 h 271561"/>
                <a:gd name="connsiteX13" fmla="*/ 14537 w 265655"/>
                <a:gd name="connsiteY13" fmla="*/ 207511 h 271561"/>
                <a:gd name="connsiteX14" fmla="*/ 9 w 265655"/>
                <a:gd name="connsiteY14" fmla="*/ 241721 h 271561"/>
                <a:gd name="connsiteX15" fmla="*/ 5582 w 265655"/>
                <a:gd name="connsiteY15" fmla="*/ 247939 h 271561"/>
                <a:gd name="connsiteX16" fmla="*/ 5901 w 265655"/>
                <a:gd name="connsiteY16" fmla="*/ 247948 h 271561"/>
                <a:gd name="connsiteX17" fmla="*/ 123971 w 265655"/>
                <a:gd name="connsiteY17" fmla="*/ 247948 h 271561"/>
                <a:gd name="connsiteX18" fmla="*/ 123971 w 265655"/>
                <a:gd name="connsiteY18" fmla="*/ 265658 h 271561"/>
                <a:gd name="connsiteX19" fmla="*/ 129875 w 265655"/>
                <a:gd name="connsiteY19" fmla="*/ 271562 h 271561"/>
                <a:gd name="connsiteX20" fmla="*/ 259752 w 265655"/>
                <a:gd name="connsiteY20" fmla="*/ 271562 h 271561"/>
                <a:gd name="connsiteX21" fmla="*/ 265656 w 265655"/>
                <a:gd name="connsiteY21" fmla="*/ 265658 h 271561"/>
                <a:gd name="connsiteX22" fmla="*/ 265656 w 265655"/>
                <a:gd name="connsiteY22" fmla="*/ 141684 h 271561"/>
                <a:gd name="connsiteX23" fmla="*/ 259752 w 265655"/>
                <a:gd name="connsiteY23" fmla="*/ 135781 h 271561"/>
                <a:gd name="connsiteX24" fmla="*/ 159300 w 265655"/>
                <a:gd name="connsiteY24" fmla="*/ 135781 h 271561"/>
                <a:gd name="connsiteX25" fmla="*/ 165780 w 265655"/>
                <a:gd name="connsiteY25" fmla="*/ 117044 h 271561"/>
                <a:gd name="connsiteX26" fmla="*/ 171488 w 265655"/>
                <a:gd name="connsiteY26" fmla="*/ 114139 h 271561"/>
                <a:gd name="connsiteX27" fmla="*/ 177080 w 265655"/>
                <a:gd name="connsiteY27" fmla="*/ 97938 h 271561"/>
                <a:gd name="connsiteX28" fmla="*/ 177080 w 265655"/>
                <a:gd name="connsiteY28" fmla="*/ 97904 h 271561"/>
                <a:gd name="connsiteX29" fmla="*/ 174739 w 265655"/>
                <a:gd name="connsiteY29" fmla="*/ 85924 h 271561"/>
                <a:gd name="connsiteX30" fmla="*/ 172180 w 265655"/>
                <a:gd name="connsiteY30" fmla="*/ 83860 h 271561"/>
                <a:gd name="connsiteX31" fmla="*/ 177103 w 265655"/>
                <a:gd name="connsiteY31" fmla="*/ 61964 h 271561"/>
                <a:gd name="connsiteX32" fmla="*/ 168064 w 265655"/>
                <a:gd name="connsiteY32" fmla="*/ 29103 h 271561"/>
                <a:gd name="connsiteX33" fmla="*/ 139964 w 265655"/>
                <a:gd name="connsiteY33" fmla="*/ 12879 h 271561"/>
                <a:gd name="connsiteX34" fmla="*/ 135156 w 265655"/>
                <a:gd name="connsiteY34" fmla="*/ 3263 h 271561"/>
                <a:gd name="connsiteX35" fmla="*/ 129875 w 265655"/>
                <a:gd name="connsiteY35" fmla="*/ 0 h 271561"/>
                <a:gd name="connsiteX36" fmla="*/ 126496 w 265655"/>
                <a:gd name="connsiteY36" fmla="*/ 12337 h 271561"/>
                <a:gd name="connsiteX37" fmla="*/ 130498 w 265655"/>
                <a:gd name="connsiteY37" fmla="*/ 20351 h 271561"/>
                <a:gd name="connsiteX38" fmla="*/ 135778 w 265655"/>
                <a:gd name="connsiteY38" fmla="*/ 23614 h 271561"/>
                <a:gd name="connsiteX39" fmla="*/ 158193 w 265655"/>
                <a:gd name="connsiteY39" fmla="*/ 35582 h 271561"/>
                <a:gd name="connsiteX40" fmla="*/ 165296 w 265655"/>
                <a:gd name="connsiteY40" fmla="*/ 62010 h 271561"/>
                <a:gd name="connsiteX41" fmla="*/ 160649 w 265655"/>
                <a:gd name="connsiteY41" fmla="*/ 81369 h 271561"/>
                <a:gd name="connsiteX42" fmla="*/ 161655 w 265655"/>
                <a:gd name="connsiteY42" fmla="*/ 89659 h 271561"/>
                <a:gd name="connsiteX43" fmla="*/ 164143 w 265655"/>
                <a:gd name="connsiteY43" fmla="*/ 90801 h 271561"/>
                <a:gd name="connsiteX44" fmla="*/ 164408 w 265655"/>
                <a:gd name="connsiteY44" fmla="*/ 91631 h 271561"/>
                <a:gd name="connsiteX45" fmla="*/ 165319 w 265655"/>
                <a:gd name="connsiteY45" fmla="*/ 96889 h 271561"/>
                <a:gd name="connsiteX46" fmla="*/ 162356 w 265655"/>
                <a:gd name="connsiteY46" fmla="*/ 106655 h 271561"/>
                <a:gd name="connsiteX47" fmla="*/ 160868 w 265655"/>
                <a:gd name="connsiteY47" fmla="*/ 107739 h 271561"/>
                <a:gd name="connsiteX48" fmla="*/ 155034 w 265655"/>
                <a:gd name="connsiteY48" fmla="*/ 112767 h 271561"/>
                <a:gd name="connsiteX49" fmla="*/ 147989 w 265655"/>
                <a:gd name="connsiteY49" fmla="*/ 131999 h 271561"/>
                <a:gd name="connsiteX50" fmla="*/ 145476 w 265655"/>
                <a:gd name="connsiteY50" fmla="*/ 135781 h 271561"/>
                <a:gd name="connsiteX51" fmla="*/ 129875 w 265655"/>
                <a:gd name="connsiteY51" fmla="*/ 135781 h 271561"/>
                <a:gd name="connsiteX52" fmla="*/ 123971 w 265655"/>
                <a:gd name="connsiteY52" fmla="*/ 141684 h 271561"/>
                <a:gd name="connsiteX53" fmla="*/ 123971 w 265655"/>
                <a:gd name="connsiteY53" fmla="*/ 236141 h 271561"/>
                <a:gd name="connsiteX54" fmla="*/ 13188 w 265655"/>
                <a:gd name="connsiteY54" fmla="*/ 236141 h 271561"/>
                <a:gd name="connsiteX55" fmla="*/ 22920 w 265655"/>
                <a:gd name="connsiteY55" fmla="*/ 215824 h 271561"/>
                <a:gd name="connsiteX56" fmla="*/ 47076 w 265655"/>
                <a:gd name="connsiteY56" fmla="*/ 201066 h 271561"/>
                <a:gd name="connsiteX57" fmla="*/ 74737 w 265655"/>
                <a:gd name="connsiteY57" fmla="*/ 189616 h 271561"/>
                <a:gd name="connsiteX58" fmla="*/ 94166 w 265655"/>
                <a:gd name="connsiteY58" fmla="*/ 170083 h 271561"/>
                <a:gd name="connsiteX59" fmla="*/ 94454 w 265655"/>
                <a:gd name="connsiteY59" fmla="*/ 168250 h 271561"/>
                <a:gd name="connsiteX60" fmla="*/ 94454 w 265655"/>
                <a:gd name="connsiteY60" fmla="*/ 141684 h 271561"/>
                <a:gd name="connsiteX61" fmla="*/ 91825 w 265655"/>
                <a:gd name="connsiteY61" fmla="*/ 136773 h 271561"/>
                <a:gd name="connsiteX62" fmla="*/ 85944 w 265655"/>
                <a:gd name="connsiteY62" fmla="*/ 128505 h 271561"/>
                <a:gd name="connsiteX63" fmla="*/ 81148 w 265655"/>
                <a:gd name="connsiteY63" fmla="*/ 113078 h 271561"/>
                <a:gd name="connsiteX64" fmla="*/ 75267 w 265655"/>
                <a:gd name="connsiteY64" fmla="*/ 107739 h 271561"/>
                <a:gd name="connsiteX65" fmla="*/ 74356 w 265655"/>
                <a:gd name="connsiteY65" fmla="*/ 106448 h 271561"/>
                <a:gd name="connsiteX66" fmla="*/ 70840 w 265655"/>
                <a:gd name="connsiteY66" fmla="*/ 96059 h 271561"/>
                <a:gd name="connsiteX67" fmla="*/ 73526 w 265655"/>
                <a:gd name="connsiteY67" fmla="*/ 89337 h 271561"/>
                <a:gd name="connsiteX68" fmla="*/ 75648 w 265655"/>
                <a:gd name="connsiteY68" fmla="*/ 82026 h 271561"/>
                <a:gd name="connsiteX69" fmla="*/ 70840 w 265655"/>
                <a:gd name="connsiteY69" fmla="*/ 61987 h 271561"/>
                <a:gd name="connsiteX70" fmla="*/ 84941 w 265655"/>
                <a:gd name="connsiteY70" fmla="*/ 27131 h 271561"/>
                <a:gd name="connsiteX71" fmla="*/ 126496 w 265655"/>
                <a:gd name="connsiteY71" fmla="*/ 12337 h 271561"/>
                <a:gd name="connsiteX72" fmla="*/ 135778 w 265655"/>
                <a:gd name="connsiteY72" fmla="*/ 147588 h 271561"/>
                <a:gd name="connsiteX73" fmla="*/ 253849 w 265655"/>
                <a:gd name="connsiteY73" fmla="*/ 147588 h 271561"/>
                <a:gd name="connsiteX74" fmla="*/ 253849 w 265655"/>
                <a:gd name="connsiteY74" fmla="*/ 259755 h 271561"/>
                <a:gd name="connsiteX75" fmla="*/ 135778 w 265655"/>
                <a:gd name="connsiteY75" fmla="*/ 259755 h 271561"/>
                <a:gd name="connsiteX76" fmla="*/ 135778 w 265655"/>
                <a:gd name="connsiteY76" fmla="*/ 243036 h 271561"/>
                <a:gd name="connsiteX77" fmla="*/ 135778 w 265655"/>
                <a:gd name="connsiteY77" fmla="*/ 241110 h 271561"/>
                <a:gd name="connsiteX78" fmla="*/ 135778 w 265655"/>
                <a:gd name="connsiteY78" fmla="*/ 147588 h 271561"/>
                <a:gd name="connsiteX79" fmla="*/ 171200 w 265655"/>
                <a:gd name="connsiteY79" fmla="*/ 159395 h 271561"/>
                <a:gd name="connsiteX80" fmla="*/ 165213 w 265655"/>
                <a:gd name="connsiteY80" fmla="*/ 165215 h 271561"/>
                <a:gd name="connsiteX81" fmla="*/ 171032 w 265655"/>
                <a:gd name="connsiteY81" fmla="*/ 171202 h 271561"/>
                <a:gd name="connsiteX82" fmla="*/ 171200 w 265655"/>
                <a:gd name="connsiteY82" fmla="*/ 171202 h 271561"/>
                <a:gd name="connsiteX83" fmla="*/ 218428 w 265655"/>
                <a:gd name="connsiteY83" fmla="*/ 171202 h 271561"/>
                <a:gd name="connsiteX84" fmla="*/ 224414 w 265655"/>
                <a:gd name="connsiteY84" fmla="*/ 165382 h 271561"/>
                <a:gd name="connsiteX85" fmla="*/ 218595 w 265655"/>
                <a:gd name="connsiteY85" fmla="*/ 159395 h 271561"/>
                <a:gd name="connsiteX86" fmla="*/ 218428 w 265655"/>
                <a:gd name="connsiteY86" fmla="*/ 159395 h 271561"/>
                <a:gd name="connsiteX87" fmla="*/ 171200 w 265655"/>
                <a:gd name="connsiteY87" fmla="*/ 159395 h 271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265655" h="271561">
                  <a:moveTo>
                    <a:pt x="129875" y="0"/>
                  </a:moveTo>
                  <a:cubicBezTo>
                    <a:pt x="106606" y="0"/>
                    <a:pt x="88692" y="7099"/>
                    <a:pt x="76743" y="18621"/>
                  </a:cubicBezTo>
                  <a:cubicBezTo>
                    <a:pt x="64794" y="30144"/>
                    <a:pt x="59033" y="45844"/>
                    <a:pt x="59033" y="61987"/>
                  </a:cubicBezTo>
                  <a:cubicBezTo>
                    <a:pt x="59033" y="69186"/>
                    <a:pt x="61332" y="76111"/>
                    <a:pt x="63933" y="82868"/>
                  </a:cubicBezTo>
                  <a:cubicBezTo>
                    <a:pt x="61154" y="85943"/>
                    <a:pt x="58480" y="90261"/>
                    <a:pt x="59056" y="97166"/>
                  </a:cubicBezTo>
                  <a:cubicBezTo>
                    <a:pt x="59065" y="97266"/>
                    <a:pt x="59076" y="97366"/>
                    <a:pt x="59091" y="97466"/>
                  </a:cubicBezTo>
                  <a:cubicBezTo>
                    <a:pt x="60078" y="104706"/>
                    <a:pt x="62170" y="109929"/>
                    <a:pt x="64959" y="113597"/>
                  </a:cubicBezTo>
                  <a:cubicBezTo>
                    <a:pt x="66604" y="115759"/>
                    <a:pt x="68530" y="117217"/>
                    <a:pt x="70621" y="118232"/>
                  </a:cubicBezTo>
                  <a:cubicBezTo>
                    <a:pt x="71700" y="123825"/>
                    <a:pt x="73130" y="129412"/>
                    <a:pt x="75440" y="133901"/>
                  </a:cubicBezTo>
                  <a:cubicBezTo>
                    <a:pt x="77568" y="138037"/>
                    <a:pt x="80063" y="140594"/>
                    <a:pt x="82647" y="143206"/>
                  </a:cubicBezTo>
                  <a:lnTo>
                    <a:pt x="82647" y="166844"/>
                  </a:lnTo>
                  <a:cubicBezTo>
                    <a:pt x="80864" y="171700"/>
                    <a:pt x="76528" y="175467"/>
                    <a:pt x="69399" y="179077"/>
                  </a:cubicBezTo>
                  <a:cubicBezTo>
                    <a:pt x="62039" y="182804"/>
                    <a:pt x="52338" y="186040"/>
                    <a:pt x="42498" y="190181"/>
                  </a:cubicBezTo>
                  <a:cubicBezTo>
                    <a:pt x="32659" y="194322"/>
                    <a:pt x="22573" y="199413"/>
                    <a:pt x="14537" y="207511"/>
                  </a:cubicBezTo>
                  <a:cubicBezTo>
                    <a:pt x="6501" y="215609"/>
                    <a:pt x="816" y="226867"/>
                    <a:pt x="9" y="241721"/>
                  </a:cubicBezTo>
                  <a:cubicBezTo>
                    <a:pt x="-169" y="244977"/>
                    <a:pt x="2326" y="247761"/>
                    <a:pt x="5582" y="247939"/>
                  </a:cubicBezTo>
                  <a:cubicBezTo>
                    <a:pt x="5688" y="247945"/>
                    <a:pt x="5795" y="247948"/>
                    <a:pt x="5901" y="247948"/>
                  </a:cubicBezTo>
                  <a:lnTo>
                    <a:pt x="123971" y="247948"/>
                  </a:lnTo>
                  <a:lnTo>
                    <a:pt x="123971" y="265658"/>
                  </a:lnTo>
                  <a:cubicBezTo>
                    <a:pt x="123972" y="268919"/>
                    <a:pt x="126614" y="271561"/>
                    <a:pt x="129875" y="271562"/>
                  </a:cubicBezTo>
                  <a:lnTo>
                    <a:pt x="259752" y="271562"/>
                  </a:lnTo>
                  <a:cubicBezTo>
                    <a:pt x="263013" y="271561"/>
                    <a:pt x="265655" y="268919"/>
                    <a:pt x="265656" y="265658"/>
                  </a:cubicBezTo>
                  <a:lnTo>
                    <a:pt x="265656" y="141684"/>
                  </a:lnTo>
                  <a:cubicBezTo>
                    <a:pt x="265655" y="138424"/>
                    <a:pt x="263013" y="135782"/>
                    <a:pt x="259752" y="135781"/>
                  </a:cubicBezTo>
                  <a:lnTo>
                    <a:pt x="159300" y="135781"/>
                  </a:lnTo>
                  <a:cubicBezTo>
                    <a:pt x="162107" y="130388"/>
                    <a:pt x="164418" y="123718"/>
                    <a:pt x="165780" y="117044"/>
                  </a:cubicBezTo>
                  <a:cubicBezTo>
                    <a:pt x="167763" y="116154"/>
                    <a:pt x="169882" y="116101"/>
                    <a:pt x="171488" y="114139"/>
                  </a:cubicBezTo>
                  <a:cubicBezTo>
                    <a:pt x="174475" y="110487"/>
                    <a:pt x="176418" y="105227"/>
                    <a:pt x="177080" y="97938"/>
                  </a:cubicBezTo>
                  <a:cubicBezTo>
                    <a:pt x="177080" y="97927"/>
                    <a:pt x="177080" y="97915"/>
                    <a:pt x="177080" y="97904"/>
                  </a:cubicBezTo>
                  <a:cubicBezTo>
                    <a:pt x="177466" y="93280"/>
                    <a:pt x="176527" y="89163"/>
                    <a:pt x="174739" y="85924"/>
                  </a:cubicBezTo>
                  <a:cubicBezTo>
                    <a:pt x="174188" y="84925"/>
                    <a:pt x="172890" y="84711"/>
                    <a:pt x="172180" y="83860"/>
                  </a:cubicBezTo>
                  <a:cubicBezTo>
                    <a:pt x="175258" y="77832"/>
                    <a:pt x="177139" y="70544"/>
                    <a:pt x="177103" y="61964"/>
                  </a:cubicBezTo>
                  <a:cubicBezTo>
                    <a:pt x="177058" y="51019"/>
                    <a:pt x="174542" y="38972"/>
                    <a:pt x="168064" y="29103"/>
                  </a:cubicBezTo>
                  <a:cubicBezTo>
                    <a:pt x="162289" y="20307"/>
                    <a:pt x="152380" y="14265"/>
                    <a:pt x="139964" y="12879"/>
                  </a:cubicBezTo>
                  <a:lnTo>
                    <a:pt x="135156" y="3263"/>
                  </a:lnTo>
                  <a:cubicBezTo>
                    <a:pt x="134156" y="1263"/>
                    <a:pt x="132111" y="0"/>
                    <a:pt x="129875" y="0"/>
                  </a:cubicBezTo>
                  <a:close/>
                  <a:moveTo>
                    <a:pt x="126496" y="12337"/>
                  </a:moveTo>
                  <a:lnTo>
                    <a:pt x="130498" y="20351"/>
                  </a:lnTo>
                  <a:cubicBezTo>
                    <a:pt x="131498" y="22351"/>
                    <a:pt x="133542" y="23614"/>
                    <a:pt x="135778" y="23614"/>
                  </a:cubicBezTo>
                  <a:cubicBezTo>
                    <a:pt x="146818" y="23614"/>
                    <a:pt x="153426" y="28321"/>
                    <a:pt x="158193" y="35582"/>
                  </a:cubicBezTo>
                  <a:cubicBezTo>
                    <a:pt x="162960" y="42844"/>
                    <a:pt x="165258" y="52924"/>
                    <a:pt x="165296" y="62010"/>
                  </a:cubicBezTo>
                  <a:cubicBezTo>
                    <a:pt x="165333" y="70796"/>
                    <a:pt x="162648" y="78816"/>
                    <a:pt x="160649" y="81369"/>
                  </a:cubicBezTo>
                  <a:cubicBezTo>
                    <a:pt x="158638" y="83936"/>
                    <a:pt x="159088" y="87647"/>
                    <a:pt x="161655" y="89659"/>
                  </a:cubicBezTo>
                  <a:cubicBezTo>
                    <a:pt x="162383" y="90229"/>
                    <a:pt x="163236" y="90620"/>
                    <a:pt x="164143" y="90801"/>
                  </a:cubicBezTo>
                  <a:cubicBezTo>
                    <a:pt x="163096" y="90592"/>
                    <a:pt x="163834" y="90591"/>
                    <a:pt x="164408" y="91631"/>
                  </a:cubicBezTo>
                  <a:cubicBezTo>
                    <a:pt x="164980" y="92668"/>
                    <a:pt x="165517" y="94445"/>
                    <a:pt x="165319" y="96889"/>
                  </a:cubicBezTo>
                  <a:cubicBezTo>
                    <a:pt x="164800" y="102575"/>
                    <a:pt x="163352" y="105438"/>
                    <a:pt x="162356" y="106655"/>
                  </a:cubicBezTo>
                  <a:cubicBezTo>
                    <a:pt x="161358" y="107874"/>
                    <a:pt x="160835" y="107739"/>
                    <a:pt x="160868" y="107739"/>
                  </a:cubicBezTo>
                  <a:cubicBezTo>
                    <a:pt x="157948" y="107742"/>
                    <a:pt x="155468" y="109878"/>
                    <a:pt x="155034" y="112767"/>
                  </a:cubicBezTo>
                  <a:cubicBezTo>
                    <a:pt x="154082" y="119117"/>
                    <a:pt x="150940" y="126992"/>
                    <a:pt x="147989" y="131999"/>
                  </a:cubicBezTo>
                  <a:lnTo>
                    <a:pt x="145476" y="135781"/>
                  </a:lnTo>
                  <a:lnTo>
                    <a:pt x="129875" y="135781"/>
                  </a:lnTo>
                  <a:cubicBezTo>
                    <a:pt x="126614" y="135782"/>
                    <a:pt x="123972" y="138424"/>
                    <a:pt x="123971" y="141684"/>
                  </a:cubicBezTo>
                  <a:lnTo>
                    <a:pt x="123971" y="236141"/>
                  </a:lnTo>
                  <a:lnTo>
                    <a:pt x="13188" y="236141"/>
                  </a:lnTo>
                  <a:cubicBezTo>
                    <a:pt x="14807" y="227621"/>
                    <a:pt x="17914" y="220868"/>
                    <a:pt x="22920" y="215824"/>
                  </a:cubicBezTo>
                  <a:cubicBezTo>
                    <a:pt x="29181" y="209514"/>
                    <a:pt x="37803" y="204968"/>
                    <a:pt x="47076" y="201066"/>
                  </a:cubicBezTo>
                  <a:cubicBezTo>
                    <a:pt x="56349" y="197163"/>
                    <a:pt x="66175" y="193951"/>
                    <a:pt x="74737" y="189616"/>
                  </a:cubicBezTo>
                  <a:cubicBezTo>
                    <a:pt x="83299" y="185280"/>
                    <a:pt x="91105" y="179458"/>
                    <a:pt x="94166" y="170083"/>
                  </a:cubicBezTo>
                  <a:cubicBezTo>
                    <a:pt x="94358" y="169492"/>
                    <a:pt x="94455" y="168873"/>
                    <a:pt x="94454" y="168250"/>
                  </a:cubicBezTo>
                  <a:lnTo>
                    <a:pt x="94454" y="141684"/>
                  </a:lnTo>
                  <a:cubicBezTo>
                    <a:pt x="94454" y="139711"/>
                    <a:pt x="93467" y="137867"/>
                    <a:pt x="91825" y="136773"/>
                  </a:cubicBezTo>
                  <a:cubicBezTo>
                    <a:pt x="91550" y="136590"/>
                    <a:pt x="88280" y="133046"/>
                    <a:pt x="85944" y="128505"/>
                  </a:cubicBezTo>
                  <a:cubicBezTo>
                    <a:pt x="83608" y="123964"/>
                    <a:pt x="81642" y="118264"/>
                    <a:pt x="81148" y="113078"/>
                  </a:cubicBezTo>
                  <a:cubicBezTo>
                    <a:pt x="80856" y="110049"/>
                    <a:pt x="78311" y="107737"/>
                    <a:pt x="75267" y="107739"/>
                  </a:cubicBezTo>
                  <a:cubicBezTo>
                    <a:pt x="76448" y="107739"/>
                    <a:pt x="75552" y="108020"/>
                    <a:pt x="74356" y="106448"/>
                  </a:cubicBezTo>
                  <a:cubicBezTo>
                    <a:pt x="73181" y="104903"/>
                    <a:pt x="71637" y="101623"/>
                    <a:pt x="70840" y="96059"/>
                  </a:cubicBezTo>
                  <a:cubicBezTo>
                    <a:pt x="70530" y="91538"/>
                    <a:pt x="73332" y="89467"/>
                    <a:pt x="73526" y="89337"/>
                  </a:cubicBezTo>
                  <a:cubicBezTo>
                    <a:pt x="75920" y="87742"/>
                    <a:pt x="76815" y="84655"/>
                    <a:pt x="75648" y="82026"/>
                  </a:cubicBezTo>
                  <a:cubicBezTo>
                    <a:pt x="72633" y="75220"/>
                    <a:pt x="70840" y="68376"/>
                    <a:pt x="70840" y="61987"/>
                  </a:cubicBezTo>
                  <a:cubicBezTo>
                    <a:pt x="70840" y="48613"/>
                    <a:pt x="75463" y="36271"/>
                    <a:pt x="84941" y="27131"/>
                  </a:cubicBezTo>
                  <a:cubicBezTo>
                    <a:pt x="93821" y="18568"/>
                    <a:pt x="107661" y="13056"/>
                    <a:pt x="126496" y="12337"/>
                  </a:cubicBezTo>
                  <a:close/>
                  <a:moveTo>
                    <a:pt x="135778" y="147588"/>
                  </a:moveTo>
                  <a:lnTo>
                    <a:pt x="253849" y="147588"/>
                  </a:lnTo>
                  <a:lnTo>
                    <a:pt x="253849" y="259755"/>
                  </a:lnTo>
                  <a:lnTo>
                    <a:pt x="135778" y="259755"/>
                  </a:lnTo>
                  <a:lnTo>
                    <a:pt x="135778" y="243036"/>
                  </a:lnTo>
                  <a:cubicBezTo>
                    <a:pt x="135883" y="242399"/>
                    <a:pt x="135883" y="241748"/>
                    <a:pt x="135778" y="241110"/>
                  </a:cubicBezTo>
                  <a:lnTo>
                    <a:pt x="135778" y="147588"/>
                  </a:lnTo>
                  <a:close/>
                  <a:moveTo>
                    <a:pt x="171200" y="159395"/>
                  </a:moveTo>
                  <a:cubicBezTo>
                    <a:pt x="167939" y="159349"/>
                    <a:pt x="165259" y="161955"/>
                    <a:pt x="165213" y="165215"/>
                  </a:cubicBezTo>
                  <a:cubicBezTo>
                    <a:pt x="165166" y="168475"/>
                    <a:pt x="167772" y="171156"/>
                    <a:pt x="171032" y="171202"/>
                  </a:cubicBezTo>
                  <a:cubicBezTo>
                    <a:pt x="171088" y="171203"/>
                    <a:pt x="171144" y="171203"/>
                    <a:pt x="171200" y="171202"/>
                  </a:cubicBezTo>
                  <a:lnTo>
                    <a:pt x="218428" y="171202"/>
                  </a:lnTo>
                  <a:cubicBezTo>
                    <a:pt x="221688" y="171248"/>
                    <a:pt x="224368" y="168642"/>
                    <a:pt x="224414" y="165382"/>
                  </a:cubicBezTo>
                  <a:cubicBezTo>
                    <a:pt x="224461" y="162122"/>
                    <a:pt x="221855" y="159441"/>
                    <a:pt x="218595" y="159395"/>
                  </a:cubicBezTo>
                  <a:cubicBezTo>
                    <a:pt x="218539" y="159394"/>
                    <a:pt x="218483" y="159394"/>
                    <a:pt x="218428" y="159395"/>
                  </a:cubicBezTo>
                  <a:lnTo>
                    <a:pt x="171200" y="159395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97000">
                  <a:schemeClr val="accent1"/>
                </a:gs>
              </a:gsLst>
              <a:lin ang="2700000" scaled="1"/>
            </a:gradFill>
            <a:ln w="57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cxnSp>
          <p:nvCxnSpPr>
            <p:cNvPr id="37" name="Straight Connector 99">
              <a:extLst>
                <a:ext uri="{FF2B5EF4-FFF2-40B4-BE49-F238E27FC236}">
                  <a16:creationId xmlns:a16="http://schemas.microsoft.com/office/drawing/2014/main" id="{34EE83CD-C5E2-0069-B414-4762C888324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59701" y="1914881"/>
              <a:ext cx="466796" cy="0"/>
            </a:xfrm>
            <a:prstGeom prst="line">
              <a:avLst/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111">
              <a:extLst>
                <a:ext uri="{FF2B5EF4-FFF2-40B4-BE49-F238E27FC236}">
                  <a16:creationId xmlns:a16="http://schemas.microsoft.com/office/drawing/2014/main" id="{634FAE4B-46B6-3D76-D430-29FDAC920885}"/>
                </a:ext>
              </a:extLst>
            </p:cNvPr>
            <p:cNvCxnSpPr>
              <a:cxnSpLocks/>
            </p:cNvCxnSpPr>
            <p:nvPr/>
          </p:nvCxnSpPr>
          <p:spPr>
            <a:xfrm>
              <a:off x="7569514" y="5775377"/>
              <a:ext cx="530445" cy="0"/>
            </a:xfrm>
            <a:prstGeom prst="line">
              <a:avLst/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112">
              <a:extLst>
                <a:ext uri="{FF2B5EF4-FFF2-40B4-BE49-F238E27FC236}">
                  <a16:creationId xmlns:a16="http://schemas.microsoft.com/office/drawing/2014/main" id="{A1689A12-15C3-6165-84FB-E80DA0EA07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31816" y="5775378"/>
              <a:ext cx="584934" cy="0"/>
            </a:xfrm>
            <a:prstGeom prst="line">
              <a:avLst/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143">
              <a:extLst>
                <a:ext uri="{FF2B5EF4-FFF2-40B4-BE49-F238E27FC236}">
                  <a16:creationId xmlns:a16="http://schemas.microsoft.com/office/drawing/2014/main" id="{7E48A725-5FEE-25FC-5C5D-DADB6AA17351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945809" y="1205302"/>
              <a:ext cx="3102042" cy="3229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>
                  <a:solidFill>
                    <a:schemeClr val="bg1"/>
                  </a:solidFill>
                  <a:latin typeface="Calibri"/>
                </a:rPr>
                <a:t>Invoice Data Extraction &amp; Classification  </a:t>
              </a:r>
              <a:endParaRPr lang="en-GB" sz="1100" b="1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41" name="Rechteck: abgerundete Ecken 24">
              <a:extLst>
                <a:ext uri="{FF2B5EF4-FFF2-40B4-BE49-F238E27FC236}">
                  <a16:creationId xmlns:a16="http://schemas.microsoft.com/office/drawing/2014/main" id="{77A1B537-A946-6F87-3A40-0E3C97A38468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71891" y="3124597"/>
              <a:ext cx="3275960" cy="1332909"/>
            </a:xfrm>
            <a:prstGeom prst="roundRect">
              <a:avLst>
                <a:gd name="adj" fmla="val 6255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288000" rIns="36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2" name="Textfeld 54">
              <a:extLst>
                <a:ext uri="{FF2B5EF4-FFF2-40B4-BE49-F238E27FC236}">
                  <a16:creationId xmlns:a16="http://schemas.microsoft.com/office/drawing/2014/main" id="{27B93FF1-6FE8-6936-D71B-BE7B35707F25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787326" y="3409460"/>
              <a:ext cx="3212970" cy="109540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GB" sz="900" b="1">
                  <a:solidFill>
                    <a:srgbClr val="242424"/>
                  </a:solidFill>
                  <a:latin typeface="Segoe UI" panose="020B0502040204020203" pitchFamily="34" charset="0"/>
                </a:rPr>
                <a:t>Tracking on savings initiatives </a:t>
              </a:r>
              <a:r>
                <a:rPr lang="en-GB" sz="900">
                  <a:solidFill>
                    <a:srgbClr val="242424"/>
                  </a:solidFill>
                  <a:latin typeface="Segoe UI" panose="020B0502040204020203" pitchFamily="34" charset="0"/>
                </a:rPr>
                <a:t>for a procurement organisation supporting both BAU and dedicated project activities</a:t>
              </a:r>
              <a:endParaRPr lang="en-GB" sz="900" i="0">
                <a:solidFill>
                  <a:srgbClr val="242424"/>
                </a:solidFill>
                <a:effectLst/>
                <a:latin typeface="Segoe UI" panose="020B0502040204020203" pitchFamily="34" charset="0"/>
              </a:endParaRPr>
            </a:p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GB" sz="900" b="1">
                  <a:solidFill>
                    <a:srgbClr val="242424"/>
                  </a:solidFill>
                  <a:latin typeface="Segoe UI" panose="020B0502040204020203" pitchFamily="34" charset="0"/>
                </a:rPr>
                <a:t>Savings realisation</a:t>
              </a:r>
              <a:r>
                <a:rPr lang="en-GB" sz="900">
                  <a:solidFill>
                    <a:srgbClr val="242424"/>
                  </a:solidFill>
                  <a:latin typeface="Segoe UI" panose="020B0502040204020203" pitchFamily="34" charset="0"/>
                </a:rPr>
                <a:t>: monitoring and tracking of how savings realised over the contract</a:t>
              </a:r>
            </a:p>
          </p:txBody>
        </p:sp>
        <p:sp>
          <p:nvSpPr>
            <p:cNvPr id="43" name="Textfeld 23">
              <a:extLst>
                <a:ext uri="{FF2B5EF4-FFF2-40B4-BE49-F238E27FC236}">
                  <a16:creationId xmlns:a16="http://schemas.microsoft.com/office/drawing/2014/main" id="{6BD03030-44B3-3CF9-A36B-294451A3F097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499776" y="2908635"/>
              <a:ext cx="3589042" cy="45409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accent2"/>
                </a:gs>
                <a:gs pos="93000">
                  <a:schemeClr val="accent1">
                    <a:alpha val="80000"/>
                  </a:schemeClr>
                </a:gs>
              </a:gsLst>
              <a:lin ang="2700000" scaled="0"/>
            </a:gradFill>
            <a:ln>
              <a:noFill/>
            </a:ln>
          </p:spPr>
          <p:txBody>
            <a:bodyPr wrap="square" lIns="252000" rtlCol="0" anchor="ctr">
              <a:spAutoFit/>
            </a:bodyPr>
            <a:lstStyle/>
            <a:p>
              <a:pPr defTabSz="519488">
                <a:defRPr/>
              </a:pPr>
              <a:endParaRPr lang="en-US" sz="1100" b="1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44" name="Oval 27">
              <a:extLst>
                <a:ext uri="{FF2B5EF4-FFF2-40B4-BE49-F238E27FC236}">
                  <a16:creationId xmlns:a16="http://schemas.microsoft.com/office/drawing/2014/main" id="{C9F21F01-FEE3-11E2-D7D1-4997DE37BF05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496081" y="2910826"/>
              <a:ext cx="442133" cy="43279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 err="1">
                <a:solidFill>
                  <a:schemeClr val="tx1"/>
                </a:solidFill>
              </a:endParaRPr>
            </a:p>
          </p:txBody>
        </p:sp>
        <p:sp>
          <p:nvSpPr>
            <p:cNvPr id="45" name="Rechteck: abgerundete Ecken 24">
              <a:extLst>
                <a:ext uri="{FF2B5EF4-FFF2-40B4-BE49-F238E27FC236}">
                  <a16:creationId xmlns:a16="http://schemas.microsoft.com/office/drawing/2014/main" id="{D95C5B7D-FE10-584E-1A82-B3633AD547C1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8442074" y="3124598"/>
              <a:ext cx="3275960" cy="1332909"/>
            </a:xfrm>
            <a:prstGeom prst="roundRect">
              <a:avLst>
                <a:gd name="adj" fmla="val 8883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288000" rIns="36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6" name="Textfeld 50">
              <a:extLst>
                <a:ext uri="{FF2B5EF4-FFF2-40B4-BE49-F238E27FC236}">
                  <a16:creationId xmlns:a16="http://schemas.microsoft.com/office/drawing/2014/main" id="{952408D6-6774-2C1A-621B-C489BC0CA475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>
            <a:xfrm>
              <a:off x="8483443" y="3409460"/>
              <a:ext cx="3275960" cy="109540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GB" sz="900" b="1">
                  <a:solidFill>
                    <a:srgbClr val="242424"/>
                  </a:solidFill>
                  <a:latin typeface="Segoe UI" panose="020B0502040204020203" pitchFamily="34" charset="0"/>
                </a:rPr>
                <a:t>Procurement health KPIs: </a:t>
              </a:r>
              <a:r>
                <a:rPr lang="en-GB" sz="900">
                  <a:solidFill>
                    <a:srgbClr val="242424"/>
                  </a:solidFill>
                  <a:latin typeface="Segoe UI" panose="020B0502040204020203" pitchFamily="34" charset="0"/>
                </a:rPr>
                <a:t>assessing the how a procurement function is performing, assessing KPIS such as spend under contract.</a:t>
              </a:r>
            </a:p>
            <a:p>
              <a:pPr marL="171450" indent="-171450" algn="l"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GB" sz="900" b="1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Driving greater compliance </a:t>
              </a:r>
              <a:r>
                <a:rPr lang="en-GB" sz="900" i="0">
                  <a:solidFill>
                    <a:srgbClr val="242424"/>
                  </a:solidFill>
                  <a:effectLst/>
                  <a:latin typeface="Segoe UI" panose="020B0502040204020203" pitchFamily="34" charset="0"/>
                </a:rPr>
                <a:t>across the supplier base, reviewing VAT IDs, sanction lists.</a:t>
              </a:r>
              <a:endParaRPr lang="en-GB" sz="900" b="0" i="0">
                <a:solidFill>
                  <a:srgbClr val="242424"/>
                </a:solidFill>
                <a:effectLst/>
                <a:latin typeface="Segoe UI" panose="020B0502040204020203" pitchFamily="34" charset="0"/>
              </a:endParaRPr>
            </a:p>
          </p:txBody>
        </p:sp>
        <p:sp>
          <p:nvSpPr>
            <p:cNvPr id="47" name="Textfeld 23">
              <a:extLst>
                <a:ext uri="{FF2B5EF4-FFF2-40B4-BE49-F238E27FC236}">
                  <a16:creationId xmlns:a16="http://schemas.microsoft.com/office/drawing/2014/main" id="{4AB8BD5A-B297-E3D9-9DEC-BA019331B940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8264891" y="2908635"/>
              <a:ext cx="3494512" cy="45409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accent2"/>
                </a:gs>
                <a:gs pos="93000">
                  <a:schemeClr val="accent1">
                    <a:alpha val="80000"/>
                  </a:schemeClr>
                </a:gs>
              </a:gsLst>
              <a:lin ang="2700000" scaled="0"/>
            </a:gradFill>
            <a:ln>
              <a:noFill/>
            </a:ln>
          </p:spPr>
          <p:txBody>
            <a:bodyPr wrap="square" lIns="252000" rtlCol="0" anchor="ctr">
              <a:spAutoFit/>
            </a:bodyPr>
            <a:lstStyle/>
            <a:p>
              <a:pPr defTabSz="519488">
                <a:defRPr/>
              </a:pPr>
              <a:r>
                <a:rPr lang="en-US" sz="1100" b="1">
                  <a:solidFill>
                    <a:schemeClr val="bg1"/>
                  </a:solidFill>
                  <a:latin typeface="Calibri"/>
                </a:rPr>
                <a:t>       Supplier 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isk &amp; Compliance</a:t>
              </a:r>
              <a:endParaRPr lang="en-US" sz="1100" b="1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48" name="Oval 27">
              <a:extLst>
                <a:ext uri="{FF2B5EF4-FFF2-40B4-BE49-F238E27FC236}">
                  <a16:creationId xmlns:a16="http://schemas.microsoft.com/office/drawing/2014/main" id="{259D702A-8BA8-BB5A-8910-C4F7217CDEBA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8261196" y="2910826"/>
              <a:ext cx="442133" cy="43279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100">
                <a:solidFill>
                  <a:schemeClr val="tx1"/>
                </a:solidFill>
              </a:endParaRPr>
            </a:p>
          </p:txBody>
        </p:sp>
        <p:sp>
          <p:nvSpPr>
            <p:cNvPr id="49" name="TextBox 58">
              <a:extLst>
                <a:ext uri="{FF2B5EF4-FFF2-40B4-BE49-F238E27FC236}">
                  <a16:creationId xmlns:a16="http://schemas.microsoft.com/office/drawing/2014/main" id="{4EAAC396-BB83-B83B-84A0-595D66422B29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945809" y="2976105"/>
              <a:ext cx="3102042" cy="3229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>
                  <a:solidFill>
                    <a:schemeClr val="bg1"/>
                  </a:solidFill>
                  <a:latin typeface="Calibri"/>
                </a:rPr>
                <a:t>Savings Analytics &amp; Tracking</a:t>
              </a:r>
              <a:endParaRPr lang="en-GB" sz="1100" b="1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50" name="Receive Cash">
              <a:extLst>
                <a:ext uri="{FF2B5EF4-FFF2-40B4-BE49-F238E27FC236}">
                  <a16:creationId xmlns:a16="http://schemas.microsoft.com/office/drawing/2014/main" id="{52C2EB04-9D05-5F9D-0BF8-DE8DD4CA661C}"/>
                </a:ext>
              </a:extLst>
            </p:cNvPr>
            <p:cNvSpPr/>
            <p:nvPr/>
          </p:nvSpPr>
          <p:spPr>
            <a:xfrm>
              <a:off x="592113" y="3027055"/>
              <a:ext cx="271945" cy="228045"/>
            </a:xfrm>
            <a:custGeom>
              <a:avLst/>
              <a:gdLst>
                <a:gd name="connsiteX0" fmla="*/ 174406 w 271945"/>
                <a:gd name="connsiteY0" fmla="*/ 0 h 228045"/>
                <a:gd name="connsiteX1" fmla="*/ 141819 w 271945"/>
                <a:gd name="connsiteY1" fmla="*/ 32587 h 228045"/>
                <a:gd name="connsiteX2" fmla="*/ 103800 w 271945"/>
                <a:gd name="connsiteY2" fmla="*/ 70606 h 228045"/>
                <a:gd name="connsiteX3" fmla="*/ 141819 w 271945"/>
                <a:gd name="connsiteY3" fmla="*/ 108625 h 228045"/>
                <a:gd name="connsiteX4" fmla="*/ 179837 w 271945"/>
                <a:gd name="connsiteY4" fmla="*/ 70606 h 228045"/>
                <a:gd name="connsiteX5" fmla="*/ 179328 w 271945"/>
                <a:gd name="connsiteY5" fmla="*/ 64835 h 228045"/>
                <a:gd name="connsiteX6" fmla="*/ 206994 w 271945"/>
                <a:gd name="connsiteY6" fmla="*/ 32587 h 228045"/>
                <a:gd name="connsiteX7" fmla="*/ 174406 w 271945"/>
                <a:gd name="connsiteY7" fmla="*/ 0 h 228045"/>
                <a:gd name="connsiteX8" fmla="*/ 174406 w 271945"/>
                <a:gd name="connsiteY8" fmla="*/ 10862 h 228045"/>
                <a:gd name="connsiteX9" fmla="*/ 196131 w 271945"/>
                <a:gd name="connsiteY9" fmla="*/ 32587 h 228045"/>
                <a:gd name="connsiteX10" fmla="*/ 175933 w 271945"/>
                <a:gd name="connsiteY10" fmla="*/ 54143 h 228045"/>
                <a:gd name="connsiteX11" fmla="*/ 152851 w 271945"/>
                <a:gd name="connsiteY11" fmla="*/ 34285 h 228045"/>
                <a:gd name="connsiteX12" fmla="*/ 152681 w 271945"/>
                <a:gd name="connsiteY12" fmla="*/ 32587 h 228045"/>
                <a:gd name="connsiteX13" fmla="*/ 174406 w 271945"/>
                <a:gd name="connsiteY13" fmla="*/ 10862 h 228045"/>
                <a:gd name="connsiteX14" fmla="*/ 172030 w 271945"/>
                <a:gd name="connsiteY14" fmla="*/ 20367 h 228045"/>
                <a:gd name="connsiteX15" fmla="*/ 163883 w 271945"/>
                <a:gd name="connsiteY15" fmla="*/ 28514 h 228045"/>
                <a:gd name="connsiteX16" fmla="*/ 170333 w 271945"/>
                <a:gd name="connsiteY16" fmla="*/ 28514 h 228045"/>
                <a:gd name="connsiteX17" fmla="*/ 170333 w 271945"/>
                <a:gd name="connsiteY17" fmla="*/ 44808 h 228045"/>
                <a:gd name="connsiteX18" fmla="*/ 178480 w 271945"/>
                <a:gd name="connsiteY18" fmla="*/ 44808 h 228045"/>
                <a:gd name="connsiteX19" fmla="*/ 178480 w 271945"/>
                <a:gd name="connsiteY19" fmla="*/ 20367 h 228045"/>
                <a:gd name="connsiteX20" fmla="*/ 141819 w 271945"/>
                <a:gd name="connsiteY20" fmla="*/ 43450 h 228045"/>
                <a:gd name="connsiteX21" fmla="*/ 168975 w 271945"/>
                <a:gd name="connsiteY21" fmla="*/ 70606 h 228045"/>
                <a:gd name="connsiteX22" fmla="*/ 141819 w 271945"/>
                <a:gd name="connsiteY22" fmla="*/ 97762 h 228045"/>
                <a:gd name="connsiteX23" fmla="*/ 114662 w 271945"/>
                <a:gd name="connsiteY23" fmla="*/ 70606 h 228045"/>
                <a:gd name="connsiteX24" fmla="*/ 141819 w 271945"/>
                <a:gd name="connsiteY24" fmla="*/ 43450 h 228045"/>
                <a:gd name="connsiteX25" fmla="*/ 139103 w 271945"/>
                <a:gd name="connsiteY25" fmla="*/ 55840 h 228045"/>
                <a:gd name="connsiteX26" fmla="*/ 129259 w 271945"/>
                <a:gd name="connsiteY26" fmla="*/ 65684 h 228045"/>
                <a:gd name="connsiteX27" fmla="*/ 136897 w 271945"/>
                <a:gd name="connsiteY27" fmla="*/ 65684 h 228045"/>
                <a:gd name="connsiteX28" fmla="*/ 136897 w 271945"/>
                <a:gd name="connsiteY28" fmla="*/ 85373 h 228045"/>
                <a:gd name="connsiteX29" fmla="*/ 146740 w 271945"/>
                <a:gd name="connsiteY29" fmla="*/ 85373 h 228045"/>
                <a:gd name="connsiteX30" fmla="*/ 146740 w 271945"/>
                <a:gd name="connsiteY30" fmla="*/ 55840 h 228045"/>
                <a:gd name="connsiteX31" fmla="*/ 73759 w 271945"/>
                <a:gd name="connsiteY31" fmla="*/ 108625 h 228045"/>
                <a:gd name="connsiteX32" fmla="*/ 43547 w 271945"/>
                <a:gd name="connsiteY32" fmla="*/ 115414 h 228045"/>
                <a:gd name="connsiteX33" fmla="*/ 3661 w 271945"/>
                <a:gd name="connsiteY33" fmla="*/ 133405 h 228045"/>
                <a:gd name="connsiteX34" fmla="*/ 34 w 271945"/>
                <a:gd name="connsiteY34" fmla="*/ 137945 h 228045"/>
                <a:gd name="connsiteX35" fmla="*/ 2601 w 271945"/>
                <a:gd name="connsiteY35" fmla="*/ 143185 h 228045"/>
                <a:gd name="connsiteX36" fmla="*/ 8414 w 271945"/>
                <a:gd name="connsiteY36" fmla="*/ 143080 h 228045"/>
                <a:gd name="connsiteX37" fmla="*/ 47621 w 271945"/>
                <a:gd name="connsiteY37" fmla="*/ 125428 h 228045"/>
                <a:gd name="connsiteX38" fmla="*/ 73759 w 271945"/>
                <a:gd name="connsiteY38" fmla="*/ 119487 h 228045"/>
                <a:gd name="connsiteX39" fmla="*/ 115851 w 271945"/>
                <a:gd name="connsiteY39" fmla="*/ 140703 h 228045"/>
                <a:gd name="connsiteX40" fmla="*/ 135369 w 271945"/>
                <a:gd name="connsiteY40" fmla="*/ 147492 h 228045"/>
                <a:gd name="connsiteX41" fmla="*/ 137576 w 271945"/>
                <a:gd name="connsiteY41" fmla="*/ 148171 h 228045"/>
                <a:gd name="connsiteX42" fmla="*/ 137745 w 271945"/>
                <a:gd name="connsiteY42" fmla="*/ 148171 h 228045"/>
                <a:gd name="connsiteX43" fmla="*/ 163544 w 271945"/>
                <a:gd name="connsiteY43" fmla="*/ 152075 h 228045"/>
                <a:gd name="connsiteX44" fmla="*/ 171690 w 271945"/>
                <a:gd name="connsiteY44" fmla="*/ 152923 h 228045"/>
                <a:gd name="connsiteX45" fmla="*/ 172030 w 271945"/>
                <a:gd name="connsiteY45" fmla="*/ 152923 h 228045"/>
                <a:gd name="connsiteX46" fmla="*/ 176782 w 271945"/>
                <a:gd name="connsiteY46" fmla="*/ 154790 h 228045"/>
                <a:gd name="connsiteX47" fmla="*/ 179837 w 271945"/>
                <a:gd name="connsiteY47" fmla="*/ 160222 h 228045"/>
                <a:gd name="connsiteX48" fmla="*/ 176782 w 271945"/>
                <a:gd name="connsiteY48" fmla="*/ 165822 h 228045"/>
                <a:gd name="connsiteX49" fmla="*/ 163544 w 271945"/>
                <a:gd name="connsiteY49" fmla="*/ 168368 h 228045"/>
                <a:gd name="connsiteX50" fmla="*/ 131975 w 271945"/>
                <a:gd name="connsiteY50" fmla="*/ 168368 h 228045"/>
                <a:gd name="connsiteX51" fmla="*/ 99896 w 271945"/>
                <a:gd name="connsiteY51" fmla="*/ 163107 h 228045"/>
                <a:gd name="connsiteX52" fmla="*/ 93107 w 271945"/>
                <a:gd name="connsiteY52" fmla="*/ 166841 h 228045"/>
                <a:gd name="connsiteX53" fmla="*/ 96841 w 271945"/>
                <a:gd name="connsiteY53" fmla="*/ 173630 h 228045"/>
                <a:gd name="connsiteX54" fmla="*/ 131975 w 271945"/>
                <a:gd name="connsiteY54" fmla="*/ 179231 h 228045"/>
                <a:gd name="connsiteX55" fmla="*/ 163544 w 271945"/>
                <a:gd name="connsiteY55" fmla="*/ 179231 h 228045"/>
                <a:gd name="connsiteX56" fmla="*/ 182213 w 271945"/>
                <a:gd name="connsiteY56" fmla="*/ 175157 h 228045"/>
                <a:gd name="connsiteX57" fmla="*/ 186117 w 271945"/>
                <a:gd name="connsiteY57" fmla="*/ 171932 h 228045"/>
                <a:gd name="connsiteX58" fmla="*/ 187475 w 271945"/>
                <a:gd name="connsiteY58" fmla="*/ 171254 h 228045"/>
                <a:gd name="connsiteX59" fmla="*/ 236356 w 271945"/>
                <a:gd name="connsiteY59" fmla="*/ 138327 h 228045"/>
                <a:gd name="connsiteX60" fmla="*/ 254177 w 271945"/>
                <a:gd name="connsiteY60" fmla="*/ 132047 h 228045"/>
                <a:gd name="connsiteX61" fmla="*/ 259948 w 271945"/>
                <a:gd name="connsiteY61" fmla="*/ 134593 h 228045"/>
                <a:gd name="connsiteX62" fmla="*/ 260627 w 271945"/>
                <a:gd name="connsiteY62" fmla="*/ 140364 h 228045"/>
                <a:gd name="connsiteX63" fmla="*/ 251462 w 271945"/>
                <a:gd name="connsiteY63" fmla="*/ 150038 h 228045"/>
                <a:gd name="connsiteX64" fmla="*/ 164732 w 271945"/>
                <a:gd name="connsiteY64" fmla="*/ 207235 h 228045"/>
                <a:gd name="connsiteX65" fmla="*/ 147759 w 271945"/>
                <a:gd name="connsiteY65" fmla="*/ 216401 h 228045"/>
                <a:gd name="connsiteX66" fmla="*/ 123998 w 271945"/>
                <a:gd name="connsiteY66" fmla="*/ 212497 h 228045"/>
                <a:gd name="connsiteX67" fmla="*/ 74946 w 271945"/>
                <a:gd name="connsiteY67" fmla="*/ 187208 h 228045"/>
                <a:gd name="connsiteX68" fmla="*/ 59841 w 271945"/>
                <a:gd name="connsiteY68" fmla="*/ 182965 h 228045"/>
                <a:gd name="connsiteX69" fmla="*/ 46432 w 271945"/>
                <a:gd name="connsiteY69" fmla="*/ 188226 h 228045"/>
                <a:gd name="connsiteX70" fmla="*/ 31836 w 271945"/>
                <a:gd name="connsiteY70" fmla="*/ 197731 h 228045"/>
                <a:gd name="connsiteX71" fmla="*/ 30224 w 271945"/>
                <a:gd name="connsiteY71" fmla="*/ 205284 h 228045"/>
                <a:gd name="connsiteX72" fmla="*/ 37776 w 271945"/>
                <a:gd name="connsiteY72" fmla="*/ 206897 h 228045"/>
                <a:gd name="connsiteX73" fmla="*/ 52373 w 271945"/>
                <a:gd name="connsiteY73" fmla="*/ 197392 h 228045"/>
                <a:gd name="connsiteX74" fmla="*/ 60350 w 271945"/>
                <a:gd name="connsiteY74" fmla="*/ 193827 h 228045"/>
                <a:gd name="connsiteX75" fmla="*/ 70024 w 271945"/>
                <a:gd name="connsiteY75" fmla="*/ 196882 h 228045"/>
                <a:gd name="connsiteX76" fmla="*/ 119245 w 271945"/>
                <a:gd name="connsiteY76" fmla="*/ 222341 h 228045"/>
                <a:gd name="connsiteX77" fmla="*/ 150644 w 271945"/>
                <a:gd name="connsiteY77" fmla="*/ 226754 h 228045"/>
                <a:gd name="connsiteX78" fmla="*/ 170163 w 271945"/>
                <a:gd name="connsiteY78" fmla="*/ 216571 h 228045"/>
                <a:gd name="connsiteX79" fmla="*/ 257742 w 271945"/>
                <a:gd name="connsiteY79" fmla="*/ 158864 h 228045"/>
                <a:gd name="connsiteX80" fmla="*/ 270641 w 271945"/>
                <a:gd name="connsiteY80" fmla="*/ 144437 h 228045"/>
                <a:gd name="connsiteX81" fmla="*/ 268604 w 271945"/>
                <a:gd name="connsiteY81" fmla="*/ 127974 h 228045"/>
                <a:gd name="connsiteX82" fmla="*/ 254347 w 271945"/>
                <a:gd name="connsiteY82" fmla="*/ 121185 h 228045"/>
                <a:gd name="connsiteX83" fmla="*/ 238393 w 271945"/>
                <a:gd name="connsiteY83" fmla="*/ 125428 h 228045"/>
                <a:gd name="connsiteX84" fmla="*/ 238223 w 271945"/>
                <a:gd name="connsiteY84" fmla="*/ 122033 h 228045"/>
                <a:gd name="connsiteX85" fmla="*/ 227530 w 271945"/>
                <a:gd name="connsiteY85" fmla="*/ 114395 h 228045"/>
                <a:gd name="connsiteX86" fmla="*/ 207842 w 271945"/>
                <a:gd name="connsiteY86" fmla="*/ 118129 h 228045"/>
                <a:gd name="connsiteX87" fmla="*/ 205975 w 271945"/>
                <a:gd name="connsiteY87" fmla="*/ 113887 h 228045"/>
                <a:gd name="connsiteX88" fmla="*/ 194943 w 271945"/>
                <a:gd name="connsiteY88" fmla="*/ 108964 h 228045"/>
                <a:gd name="connsiteX89" fmla="*/ 173218 w 271945"/>
                <a:gd name="connsiteY89" fmla="*/ 114395 h 228045"/>
                <a:gd name="connsiteX90" fmla="*/ 137236 w 271945"/>
                <a:gd name="connsiteY90" fmla="*/ 136799 h 228045"/>
                <a:gd name="connsiteX91" fmla="*/ 121451 w 271945"/>
                <a:gd name="connsiteY91" fmla="*/ 131368 h 228045"/>
                <a:gd name="connsiteX92" fmla="*/ 73759 w 271945"/>
                <a:gd name="connsiteY92" fmla="*/ 108625 h 228045"/>
                <a:gd name="connsiteX93" fmla="*/ 194094 w 271945"/>
                <a:gd name="connsiteY93" fmla="*/ 119827 h 228045"/>
                <a:gd name="connsiteX94" fmla="*/ 197658 w 271945"/>
                <a:gd name="connsiteY94" fmla="*/ 121015 h 228045"/>
                <a:gd name="connsiteX95" fmla="*/ 198168 w 271945"/>
                <a:gd name="connsiteY95" fmla="*/ 123221 h 228045"/>
                <a:gd name="connsiteX96" fmla="*/ 198168 w 271945"/>
                <a:gd name="connsiteY96" fmla="*/ 123391 h 228045"/>
                <a:gd name="connsiteX97" fmla="*/ 171351 w 271945"/>
                <a:gd name="connsiteY97" fmla="*/ 141722 h 228045"/>
                <a:gd name="connsiteX98" fmla="*/ 163544 w 271945"/>
                <a:gd name="connsiteY98" fmla="*/ 141212 h 228045"/>
                <a:gd name="connsiteX99" fmla="*/ 152512 w 271945"/>
                <a:gd name="connsiteY99" fmla="*/ 140024 h 228045"/>
                <a:gd name="connsiteX100" fmla="*/ 178819 w 271945"/>
                <a:gd name="connsiteY100" fmla="*/ 123730 h 228045"/>
                <a:gd name="connsiteX101" fmla="*/ 194094 w 271945"/>
                <a:gd name="connsiteY101" fmla="*/ 119827 h 228045"/>
                <a:gd name="connsiteX102" fmla="*/ 221929 w 271945"/>
                <a:gd name="connsiteY102" fmla="*/ 124919 h 228045"/>
                <a:gd name="connsiteX103" fmla="*/ 225493 w 271945"/>
                <a:gd name="connsiteY103" fmla="*/ 124919 h 228045"/>
                <a:gd name="connsiteX104" fmla="*/ 228379 w 271945"/>
                <a:gd name="connsiteY104" fmla="*/ 126616 h 228045"/>
                <a:gd name="connsiteX105" fmla="*/ 228549 w 271945"/>
                <a:gd name="connsiteY105" fmla="*/ 130519 h 228045"/>
                <a:gd name="connsiteX106" fmla="*/ 190190 w 271945"/>
                <a:gd name="connsiteY106" fmla="*/ 156318 h 228045"/>
                <a:gd name="connsiteX107" fmla="*/ 183741 w 271945"/>
                <a:gd name="connsiteY107" fmla="*/ 146474 h 228045"/>
                <a:gd name="connsiteX108" fmla="*/ 206145 w 271945"/>
                <a:gd name="connsiteY108" fmla="*/ 131029 h 228045"/>
                <a:gd name="connsiteX109" fmla="*/ 206994 w 271945"/>
                <a:gd name="connsiteY109" fmla="*/ 130350 h 228045"/>
                <a:gd name="connsiteX110" fmla="*/ 207842 w 271945"/>
                <a:gd name="connsiteY110" fmla="*/ 129671 h 228045"/>
                <a:gd name="connsiteX111" fmla="*/ 221929 w 271945"/>
                <a:gd name="connsiteY111" fmla="*/ 124919 h 228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271945" h="228045">
                  <a:moveTo>
                    <a:pt x="174406" y="0"/>
                  </a:moveTo>
                  <a:cubicBezTo>
                    <a:pt x="156479" y="0"/>
                    <a:pt x="141819" y="14660"/>
                    <a:pt x="141819" y="32587"/>
                  </a:cubicBezTo>
                  <a:cubicBezTo>
                    <a:pt x="120878" y="32587"/>
                    <a:pt x="103800" y="49666"/>
                    <a:pt x="103800" y="70606"/>
                  </a:cubicBezTo>
                  <a:cubicBezTo>
                    <a:pt x="103800" y="91546"/>
                    <a:pt x="120878" y="108625"/>
                    <a:pt x="141819" y="108625"/>
                  </a:cubicBezTo>
                  <a:cubicBezTo>
                    <a:pt x="162759" y="108625"/>
                    <a:pt x="179837" y="91546"/>
                    <a:pt x="179837" y="70606"/>
                  </a:cubicBezTo>
                  <a:cubicBezTo>
                    <a:pt x="179837" y="68654"/>
                    <a:pt x="179625" y="66724"/>
                    <a:pt x="179328" y="64835"/>
                  </a:cubicBezTo>
                  <a:cubicBezTo>
                    <a:pt x="194986" y="62480"/>
                    <a:pt x="206994" y="48881"/>
                    <a:pt x="206994" y="32587"/>
                  </a:cubicBezTo>
                  <a:cubicBezTo>
                    <a:pt x="206994" y="14660"/>
                    <a:pt x="192334" y="0"/>
                    <a:pt x="174406" y="0"/>
                  </a:cubicBezTo>
                  <a:close/>
                  <a:moveTo>
                    <a:pt x="174406" y="10862"/>
                  </a:moveTo>
                  <a:cubicBezTo>
                    <a:pt x="186457" y="10862"/>
                    <a:pt x="196131" y="20537"/>
                    <a:pt x="196131" y="32587"/>
                  </a:cubicBezTo>
                  <a:cubicBezTo>
                    <a:pt x="196131" y="44129"/>
                    <a:pt x="187263" y="53358"/>
                    <a:pt x="175933" y="54143"/>
                  </a:cubicBezTo>
                  <a:cubicBezTo>
                    <a:pt x="171351" y="44702"/>
                    <a:pt x="163013" y="37403"/>
                    <a:pt x="152851" y="34285"/>
                  </a:cubicBezTo>
                  <a:cubicBezTo>
                    <a:pt x="152808" y="33712"/>
                    <a:pt x="152681" y="33160"/>
                    <a:pt x="152681" y="32587"/>
                  </a:cubicBezTo>
                  <a:cubicBezTo>
                    <a:pt x="152681" y="20537"/>
                    <a:pt x="162355" y="10862"/>
                    <a:pt x="174406" y="10862"/>
                  </a:cubicBezTo>
                  <a:close/>
                  <a:moveTo>
                    <a:pt x="172030" y="20367"/>
                  </a:moveTo>
                  <a:lnTo>
                    <a:pt x="163883" y="28514"/>
                  </a:lnTo>
                  <a:lnTo>
                    <a:pt x="170333" y="28514"/>
                  </a:lnTo>
                  <a:lnTo>
                    <a:pt x="170333" y="44808"/>
                  </a:lnTo>
                  <a:lnTo>
                    <a:pt x="178480" y="44808"/>
                  </a:lnTo>
                  <a:lnTo>
                    <a:pt x="178480" y="20367"/>
                  </a:lnTo>
                  <a:close/>
                  <a:moveTo>
                    <a:pt x="141819" y="43450"/>
                  </a:moveTo>
                  <a:cubicBezTo>
                    <a:pt x="156882" y="43450"/>
                    <a:pt x="168975" y="55543"/>
                    <a:pt x="168975" y="70606"/>
                  </a:cubicBezTo>
                  <a:cubicBezTo>
                    <a:pt x="168975" y="85669"/>
                    <a:pt x="156882" y="97762"/>
                    <a:pt x="141819" y="97762"/>
                  </a:cubicBezTo>
                  <a:cubicBezTo>
                    <a:pt x="126756" y="97762"/>
                    <a:pt x="114662" y="85669"/>
                    <a:pt x="114662" y="70606"/>
                  </a:cubicBezTo>
                  <a:cubicBezTo>
                    <a:pt x="114662" y="55543"/>
                    <a:pt x="126756" y="43450"/>
                    <a:pt x="141819" y="43450"/>
                  </a:cubicBezTo>
                  <a:close/>
                  <a:moveTo>
                    <a:pt x="139103" y="55840"/>
                  </a:moveTo>
                  <a:lnTo>
                    <a:pt x="129259" y="65684"/>
                  </a:lnTo>
                  <a:lnTo>
                    <a:pt x="136897" y="65684"/>
                  </a:lnTo>
                  <a:lnTo>
                    <a:pt x="136897" y="85373"/>
                  </a:lnTo>
                  <a:lnTo>
                    <a:pt x="146740" y="85373"/>
                  </a:lnTo>
                  <a:lnTo>
                    <a:pt x="146740" y="55840"/>
                  </a:lnTo>
                  <a:close/>
                  <a:moveTo>
                    <a:pt x="73759" y="108625"/>
                  </a:moveTo>
                  <a:cubicBezTo>
                    <a:pt x="58356" y="108625"/>
                    <a:pt x="51248" y="112359"/>
                    <a:pt x="43547" y="115414"/>
                  </a:cubicBezTo>
                  <a:cubicBezTo>
                    <a:pt x="28845" y="121248"/>
                    <a:pt x="3661" y="133405"/>
                    <a:pt x="3661" y="133405"/>
                  </a:cubicBezTo>
                  <a:cubicBezTo>
                    <a:pt x="1667" y="134084"/>
                    <a:pt x="267" y="135866"/>
                    <a:pt x="34" y="137945"/>
                  </a:cubicBezTo>
                  <a:cubicBezTo>
                    <a:pt x="-200" y="140046"/>
                    <a:pt x="797" y="142082"/>
                    <a:pt x="2601" y="143185"/>
                  </a:cubicBezTo>
                  <a:cubicBezTo>
                    <a:pt x="4383" y="144267"/>
                    <a:pt x="6653" y="144225"/>
                    <a:pt x="8414" y="143080"/>
                  </a:cubicBezTo>
                  <a:cubicBezTo>
                    <a:pt x="8414" y="143080"/>
                    <a:pt x="33788" y="130902"/>
                    <a:pt x="47621" y="125428"/>
                  </a:cubicBezTo>
                  <a:cubicBezTo>
                    <a:pt x="56085" y="122076"/>
                    <a:pt x="59926" y="119487"/>
                    <a:pt x="73759" y="119487"/>
                  </a:cubicBezTo>
                  <a:cubicBezTo>
                    <a:pt x="104266" y="119487"/>
                    <a:pt x="103355" y="133214"/>
                    <a:pt x="115851" y="140703"/>
                  </a:cubicBezTo>
                  <a:cubicBezTo>
                    <a:pt x="120348" y="143397"/>
                    <a:pt x="127413" y="145477"/>
                    <a:pt x="135369" y="147492"/>
                  </a:cubicBezTo>
                  <a:cubicBezTo>
                    <a:pt x="136048" y="147874"/>
                    <a:pt x="136790" y="148107"/>
                    <a:pt x="137576" y="148171"/>
                  </a:cubicBezTo>
                  <a:cubicBezTo>
                    <a:pt x="137639" y="148192"/>
                    <a:pt x="137682" y="148150"/>
                    <a:pt x="137745" y="148171"/>
                  </a:cubicBezTo>
                  <a:cubicBezTo>
                    <a:pt x="146719" y="150356"/>
                    <a:pt x="156245" y="152075"/>
                    <a:pt x="163544" y="152075"/>
                  </a:cubicBezTo>
                  <a:cubicBezTo>
                    <a:pt x="166726" y="152075"/>
                    <a:pt x="169463" y="152435"/>
                    <a:pt x="171690" y="152923"/>
                  </a:cubicBezTo>
                  <a:cubicBezTo>
                    <a:pt x="171796" y="152923"/>
                    <a:pt x="171924" y="152923"/>
                    <a:pt x="172030" y="152923"/>
                  </a:cubicBezTo>
                  <a:cubicBezTo>
                    <a:pt x="174067" y="153411"/>
                    <a:pt x="175658" y="154090"/>
                    <a:pt x="176782" y="154790"/>
                  </a:cubicBezTo>
                  <a:cubicBezTo>
                    <a:pt x="179158" y="156296"/>
                    <a:pt x="179837" y="157527"/>
                    <a:pt x="179837" y="160222"/>
                  </a:cubicBezTo>
                  <a:cubicBezTo>
                    <a:pt x="179837" y="163383"/>
                    <a:pt x="179158" y="164401"/>
                    <a:pt x="176782" y="165822"/>
                  </a:cubicBezTo>
                  <a:cubicBezTo>
                    <a:pt x="174406" y="167244"/>
                    <a:pt x="169802" y="168368"/>
                    <a:pt x="163544" y="168368"/>
                  </a:cubicBezTo>
                  <a:lnTo>
                    <a:pt x="131975" y="168368"/>
                  </a:lnTo>
                  <a:cubicBezTo>
                    <a:pt x="118672" y="168368"/>
                    <a:pt x="99896" y="163107"/>
                    <a:pt x="99896" y="163107"/>
                  </a:cubicBezTo>
                  <a:cubicBezTo>
                    <a:pt x="96990" y="162258"/>
                    <a:pt x="93956" y="163934"/>
                    <a:pt x="93107" y="166841"/>
                  </a:cubicBezTo>
                  <a:cubicBezTo>
                    <a:pt x="92259" y="169747"/>
                    <a:pt x="93935" y="172781"/>
                    <a:pt x="96841" y="173630"/>
                  </a:cubicBezTo>
                  <a:cubicBezTo>
                    <a:pt x="96841" y="173630"/>
                    <a:pt x="115999" y="179231"/>
                    <a:pt x="131975" y="179231"/>
                  </a:cubicBezTo>
                  <a:lnTo>
                    <a:pt x="163544" y="179231"/>
                  </a:lnTo>
                  <a:cubicBezTo>
                    <a:pt x="170884" y="179231"/>
                    <a:pt x="177122" y="178170"/>
                    <a:pt x="182213" y="175157"/>
                  </a:cubicBezTo>
                  <a:cubicBezTo>
                    <a:pt x="183677" y="174287"/>
                    <a:pt x="184971" y="173206"/>
                    <a:pt x="186117" y="171932"/>
                  </a:cubicBezTo>
                  <a:cubicBezTo>
                    <a:pt x="186605" y="171763"/>
                    <a:pt x="187051" y="171551"/>
                    <a:pt x="187475" y="171254"/>
                  </a:cubicBezTo>
                  <a:lnTo>
                    <a:pt x="236356" y="138327"/>
                  </a:lnTo>
                  <a:cubicBezTo>
                    <a:pt x="244821" y="133299"/>
                    <a:pt x="250698" y="131983"/>
                    <a:pt x="254177" y="132047"/>
                  </a:cubicBezTo>
                  <a:cubicBezTo>
                    <a:pt x="257657" y="132111"/>
                    <a:pt x="258845" y="133150"/>
                    <a:pt x="259948" y="134593"/>
                  </a:cubicBezTo>
                  <a:cubicBezTo>
                    <a:pt x="261561" y="136693"/>
                    <a:pt x="261667" y="137881"/>
                    <a:pt x="260627" y="140364"/>
                  </a:cubicBezTo>
                  <a:cubicBezTo>
                    <a:pt x="259587" y="142846"/>
                    <a:pt x="256702" y="146325"/>
                    <a:pt x="251462" y="150038"/>
                  </a:cubicBezTo>
                  <a:cubicBezTo>
                    <a:pt x="244949" y="154663"/>
                    <a:pt x="173175" y="202356"/>
                    <a:pt x="164732" y="207235"/>
                  </a:cubicBezTo>
                  <a:cubicBezTo>
                    <a:pt x="158494" y="210842"/>
                    <a:pt x="153508" y="214768"/>
                    <a:pt x="147759" y="216401"/>
                  </a:cubicBezTo>
                  <a:cubicBezTo>
                    <a:pt x="142010" y="218034"/>
                    <a:pt x="135136" y="217907"/>
                    <a:pt x="123998" y="212497"/>
                  </a:cubicBezTo>
                  <a:cubicBezTo>
                    <a:pt x="116572" y="208890"/>
                    <a:pt x="85130" y="192470"/>
                    <a:pt x="74946" y="187208"/>
                  </a:cubicBezTo>
                  <a:cubicBezTo>
                    <a:pt x="69324" y="184302"/>
                    <a:pt x="64699" y="182689"/>
                    <a:pt x="59841" y="182965"/>
                  </a:cubicBezTo>
                  <a:cubicBezTo>
                    <a:pt x="54982" y="183241"/>
                    <a:pt x="50739" y="185468"/>
                    <a:pt x="46432" y="188226"/>
                  </a:cubicBezTo>
                  <a:lnTo>
                    <a:pt x="31836" y="197731"/>
                  </a:lnTo>
                  <a:cubicBezTo>
                    <a:pt x="29311" y="199365"/>
                    <a:pt x="28590" y="202759"/>
                    <a:pt x="30224" y="205284"/>
                  </a:cubicBezTo>
                  <a:cubicBezTo>
                    <a:pt x="31857" y="207808"/>
                    <a:pt x="35252" y="208530"/>
                    <a:pt x="37776" y="206897"/>
                  </a:cubicBezTo>
                  <a:lnTo>
                    <a:pt x="52373" y="197392"/>
                  </a:lnTo>
                  <a:cubicBezTo>
                    <a:pt x="56171" y="194973"/>
                    <a:pt x="58313" y="193933"/>
                    <a:pt x="60350" y="193827"/>
                  </a:cubicBezTo>
                  <a:cubicBezTo>
                    <a:pt x="62387" y="193721"/>
                    <a:pt x="65166" y="194379"/>
                    <a:pt x="70024" y="196882"/>
                  </a:cubicBezTo>
                  <a:cubicBezTo>
                    <a:pt x="80123" y="202101"/>
                    <a:pt x="111077" y="218374"/>
                    <a:pt x="119245" y="222341"/>
                  </a:cubicBezTo>
                  <a:cubicBezTo>
                    <a:pt x="132080" y="228579"/>
                    <a:pt x="142370" y="229109"/>
                    <a:pt x="150644" y="226754"/>
                  </a:cubicBezTo>
                  <a:cubicBezTo>
                    <a:pt x="158918" y="224399"/>
                    <a:pt x="164838" y="219668"/>
                    <a:pt x="170163" y="216571"/>
                  </a:cubicBezTo>
                  <a:cubicBezTo>
                    <a:pt x="181471" y="210015"/>
                    <a:pt x="249573" y="164656"/>
                    <a:pt x="257742" y="158864"/>
                  </a:cubicBezTo>
                  <a:cubicBezTo>
                    <a:pt x="263979" y="154451"/>
                    <a:pt x="268371" y="149826"/>
                    <a:pt x="270641" y="144437"/>
                  </a:cubicBezTo>
                  <a:cubicBezTo>
                    <a:pt x="272911" y="139048"/>
                    <a:pt x="272211" y="132684"/>
                    <a:pt x="268604" y="127974"/>
                  </a:cubicBezTo>
                  <a:cubicBezTo>
                    <a:pt x="265761" y="124261"/>
                    <a:pt x="260775" y="121312"/>
                    <a:pt x="254347" y="121185"/>
                  </a:cubicBezTo>
                  <a:cubicBezTo>
                    <a:pt x="249828" y="121100"/>
                    <a:pt x="244354" y="122755"/>
                    <a:pt x="238393" y="125428"/>
                  </a:cubicBezTo>
                  <a:cubicBezTo>
                    <a:pt x="238160" y="124324"/>
                    <a:pt x="238711" y="123094"/>
                    <a:pt x="238223" y="122033"/>
                  </a:cubicBezTo>
                  <a:cubicBezTo>
                    <a:pt x="236378" y="118024"/>
                    <a:pt x="232155" y="115308"/>
                    <a:pt x="227530" y="114395"/>
                  </a:cubicBezTo>
                  <a:cubicBezTo>
                    <a:pt x="221484" y="113208"/>
                    <a:pt x="214631" y="115032"/>
                    <a:pt x="207842" y="118129"/>
                  </a:cubicBezTo>
                  <a:cubicBezTo>
                    <a:pt x="207354" y="116645"/>
                    <a:pt x="206972" y="115053"/>
                    <a:pt x="205975" y="113887"/>
                  </a:cubicBezTo>
                  <a:cubicBezTo>
                    <a:pt x="203068" y="110407"/>
                    <a:pt x="198847" y="109261"/>
                    <a:pt x="194943" y="108964"/>
                  </a:cubicBezTo>
                  <a:cubicBezTo>
                    <a:pt x="187157" y="108370"/>
                    <a:pt x="179074" y="110895"/>
                    <a:pt x="173218" y="114395"/>
                  </a:cubicBezTo>
                  <a:cubicBezTo>
                    <a:pt x="165093" y="119233"/>
                    <a:pt x="140800" y="134550"/>
                    <a:pt x="137236" y="136799"/>
                  </a:cubicBezTo>
                  <a:cubicBezTo>
                    <a:pt x="129980" y="134847"/>
                    <a:pt x="123382" y="132535"/>
                    <a:pt x="121451" y="131368"/>
                  </a:cubicBezTo>
                  <a:cubicBezTo>
                    <a:pt x="116487" y="128377"/>
                    <a:pt x="108000" y="108625"/>
                    <a:pt x="73759" y="108625"/>
                  </a:cubicBezTo>
                  <a:close/>
                  <a:moveTo>
                    <a:pt x="194094" y="119827"/>
                  </a:moveTo>
                  <a:cubicBezTo>
                    <a:pt x="196258" y="119997"/>
                    <a:pt x="197362" y="120654"/>
                    <a:pt x="197658" y="121015"/>
                  </a:cubicBezTo>
                  <a:cubicBezTo>
                    <a:pt x="197892" y="121290"/>
                    <a:pt x="198295" y="121715"/>
                    <a:pt x="198168" y="123221"/>
                  </a:cubicBezTo>
                  <a:cubicBezTo>
                    <a:pt x="198168" y="123264"/>
                    <a:pt x="198168" y="123348"/>
                    <a:pt x="198168" y="123391"/>
                  </a:cubicBezTo>
                  <a:lnTo>
                    <a:pt x="171351" y="141722"/>
                  </a:lnTo>
                  <a:cubicBezTo>
                    <a:pt x="168890" y="141339"/>
                    <a:pt x="166344" y="141212"/>
                    <a:pt x="163544" y="141212"/>
                  </a:cubicBezTo>
                  <a:cubicBezTo>
                    <a:pt x="160680" y="141212"/>
                    <a:pt x="156776" y="140703"/>
                    <a:pt x="152512" y="140024"/>
                  </a:cubicBezTo>
                  <a:cubicBezTo>
                    <a:pt x="161952" y="134084"/>
                    <a:pt x="173642" y="126807"/>
                    <a:pt x="178819" y="123730"/>
                  </a:cubicBezTo>
                  <a:cubicBezTo>
                    <a:pt x="182468" y="121566"/>
                    <a:pt x="189745" y="119487"/>
                    <a:pt x="194094" y="119827"/>
                  </a:cubicBezTo>
                  <a:close/>
                  <a:moveTo>
                    <a:pt x="221929" y="124919"/>
                  </a:moveTo>
                  <a:cubicBezTo>
                    <a:pt x="223372" y="124791"/>
                    <a:pt x="224560" y="124727"/>
                    <a:pt x="225493" y="124919"/>
                  </a:cubicBezTo>
                  <a:cubicBezTo>
                    <a:pt x="227742" y="125364"/>
                    <a:pt x="228018" y="125831"/>
                    <a:pt x="228379" y="126616"/>
                  </a:cubicBezTo>
                  <a:cubicBezTo>
                    <a:pt x="228634" y="127189"/>
                    <a:pt x="228761" y="128653"/>
                    <a:pt x="228549" y="130519"/>
                  </a:cubicBezTo>
                  <a:lnTo>
                    <a:pt x="190190" y="156318"/>
                  </a:lnTo>
                  <a:cubicBezTo>
                    <a:pt x="189257" y="152393"/>
                    <a:pt x="186987" y="148914"/>
                    <a:pt x="183741" y="146474"/>
                  </a:cubicBezTo>
                  <a:lnTo>
                    <a:pt x="206145" y="131029"/>
                  </a:lnTo>
                  <a:cubicBezTo>
                    <a:pt x="206442" y="130837"/>
                    <a:pt x="206739" y="130604"/>
                    <a:pt x="206994" y="130350"/>
                  </a:cubicBezTo>
                  <a:cubicBezTo>
                    <a:pt x="207291" y="130159"/>
                    <a:pt x="207588" y="129926"/>
                    <a:pt x="207842" y="129671"/>
                  </a:cubicBezTo>
                  <a:cubicBezTo>
                    <a:pt x="212701" y="126722"/>
                    <a:pt x="218068" y="125279"/>
                    <a:pt x="221929" y="124919"/>
                  </a:cubicBez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 w="5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Medium Risk">
              <a:extLst>
                <a:ext uri="{FF2B5EF4-FFF2-40B4-BE49-F238E27FC236}">
                  <a16:creationId xmlns:a16="http://schemas.microsoft.com/office/drawing/2014/main" id="{0F5796E2-78B3-831B-722F-46F59A8BF54F}"/>
                </a:ext>
              </a:extLst>
            </p:cNvPr>
            <p:cNvSpPr/>
            <p:nvPr/>
          </p:nvSpPr>
          <p:spPr>
            <a:xfrm>
              <a:off x="8347654" y="3000958"/>
              <a:ext cx="276133" cy="247278"/>
            </a:xfrm>
            <a:custGeom>
              <a:avLst/>
              <a:gdLst>
                <a:gd name="connsiteX0" fmla="*/ 138067 w 276133"/>
                <a:gd name="connsiteY0" fmla="*/ 0 h 247278"/>
                <a:gd name="connsiteX1" fmla="*/ 122891 w 276133"/>
                <a:gd name="connsiteY1" fmla="*/ 8645 h 247278"/>
                <a:gd name="connsiteX2" fmla="*/ 2264 w 276133"/>
                <a:gd name="connsiteY2" fmla="*/ 220793 h 247278"/>
                <a:gd name="connsiteX3" fmla="*/ 17452 w 276133"/>
                <a:gd name="connsiteY3" fmla="*/ 247279 h 247278"/>
                <a:gd name="connsiteX4" fmla="*/ 258683 w 276133"/>
                <a:gd name="connsiteY4" fmla="*/ 247279 h 247278"/>
                <a:gd name="connsiteX5" fmla="*/ 273871 w 276133"/>
                <a:gd name="connsiteY5" fmla="*/ 220782 h 247278"/>
                <a:gd name="connsiteX6" fmla="*/ 153244 w 276133"/>
                <a:gd name="connsiteY6" fmla="*/ 8645 h 247278"/>
                <a:gd name="connsiteX7" fmla="*/ 138067 w 276133"/>
                <a:gd name="connsiteY7" fmla="*/ 0 h 247278"/>
                <a:gd name="connsiteX8" fmla="*/ 138067 w 276133"/>
                <a:gd name="connsiteY8" fmla="*/ 11062 h 247278"/>
                <a:gd name="connsiteX9" fmla="*/ 143238 w 276133"/>
                <a:gd name="connsiteY9" fmla="*/ 14345 h 247278"/>
                <a:gd name="connsiteX10" fmla="*/ 263865 w 276133"/>
                <a:gd name="connsiteY10" fmla="*/ 226470 h 247278"/>
                <a:gd name="connsiteX11" fmla="*/ 263854 w 276133"/>
                <a:gd name="connsiteY11" fmla="*/ 226470 h 247278"/>
                <a:gd name="connsiteX12" fmla="*/ 258683 w 276133"/>
                <a:gd name="connsiteY12" fmla="*/ 235767 h 247278"/>
                <a:gd name="connsiteX13" fmla="*/ 17452 w 276133"/>
                <a:gd name="connsiteY13" fmla="*/ 235767 h 247278"/>
                <a:gd name="connsiteX14" fmla="*/ 12269 w 276133"/>
                <a:gd name="connsiteY14" fmla="*/ 226481 h 247278"/>
                <a:gd name="connsiteX15" fmla="*/ 132896 w 276133"/>
                <a:gd name="connsiteY15" fmla="*/ 14345 h 247278"/>
                <a:gd name="connsiteX16" fmla="*/ 138067 w 276133"/>
                <a:gd name="connsiteY16" fmla="*/ 11062 h 247278"/>
                <a:gd name="connsiteX17" fmla="*/ 132300 w 276133"/>
                <a:gd name="connsiteY17" fmla="*/ 80358 h 247278"/>
                <a:gd name="connsiteX18" fmla="*/ 126555 w 276133"/>
                <a:gd name="connsiteY18" fmla="*/ 86114 h 247278"/>
                <a:gd name="connsiteX19" fmla="*/ 126555 w 276133"/>
                <a:gd name="connsiteY19" fmla="*/ 166696 h 247278"/>
                <a:gd name="connsiteX20" fmla="*/ 132289 w 276133"/>
                <a:gd name="connsiteY20" fmla="*/ 172452 h 247278"/>
                <a:gd name="connsiteX21" fmla="*/ 143823 w 276133"/>
                <a:gd name="connsiteY21" fmla="*/ 172452 h 247278"/>
                <a:gd name="connsiteX22" fmla="*/ 149567 w 276133"/>
                <a:gd name="connsiteY22" fmla="*/ 166696 h 247278"/>
                <a:gd name="connsiteX23" fmla="*/ 149579 w 276133"/>
                <a:gd name="connsiteY23" fmla="*/ 86114 h 247278"/>
                <a:gd name="connsiteX24" fmla="*/ 143835 w 276133"/>
                <a:gd name="connsiteY24" fmla="*/ 80358 h 247278"/>
                <a:gd name="connsiteX25" fmla="*/ 132300 w 276133"/>
                <a:gd name="connsiteY25" fmla="*/ 80358 h 247278"/>
                <a:gd name="connsiteX26" fmla="*/ 132300 w 276133"/>
                <a:gd name="connsiteY26" fmla="*/ 189720 h 247278"/>
                <a:gd name="connsiteX27" fmla="*/ 126555 w 276133"/>
                <a:gd name="connsiteY27" fmla="*/ 195476 h 247278"/>
                <a:gd name="connsiteX28" fmla="*/ 126555 w 276133"/>
                <a:gd name="connsiteY28" fmla="*/ 206988 h 247278"/>
                <a:gd name="connsiteX29" fmla="*/ 132300 w 276133"/>
                <a:gd name="connsiteY29" fmla="*/ 212743 h 247278"/>
                <a:gd name="connsiteX30" fmla="*/ 143835 w 276133"/>
                <a:gd name="connsiteY30" fmla="*/ 212743 h 247278"/>
                <a:gd name="connsiteX31" fmla="*/ 149579 w 276133"/>
                <a:gd name="connsiteY31" fmla="*/ 206988 h 247278"/>
                <a:gd name="connsiteX32" fmla="*/ 149579 w 276133"/>
                <a:gd name="connsiteY32" fmla="*/ 195476 h 247278"/>
                <a:gd name="connsiteX33" fmla="*/ 143835 w 276133"/>
                <a:gd name="connsiteY33" fmla="*/ 189720 h 247278"/>
                <a:gd name="connsiteX34" fmla="*/ 132300 w 276133"/>
                <a:gd name="connsiteY34" fmla="*/ 189720 h 247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76133" h="247278">
                  <a:moveTo>
                    <a:pt x="138067" y="0"/>
                  </a:moveTo>
                  <a:cubicBezTo>
                    <a:pt x="132119" y="0"/>
                    <a:pt x="126170" y="2878"/>
                    <a:pt x="122891" y="8645"/>
                  </a:cubicBezTo>
                  <a:lnTo>
                    <a:pt x="2264" y="220793"/>
                  </a:lnTo>
                  <a:cubicBezTo>
                    <a:pt x="-4292" y="232327"/>
                    <a:pt x="4191" y="247279"/>
                    <a:pt x="17452" y="247279"/>
                  </a:cubicBezTo>
                  <a:lnTo>
                    <a:pt x="258683" y="247279"/>
                  </a:lnTo>
                  <a:cubicBezTo>
                    <a:pt x="271943" y="247279"/>
                    <a:pt x="280424" y="232319"/>
                    <a:pt x="273871" y="220782"/>
                  </a:cubicBezTo>
                  <a:lnTo>
                    <a:pt x="153244" y="8645"/>
                  </a:lnTo>
                  <a:cubicBezTo>
                    <a:pt x="149964" y="2878"/>
                    <a:pt x="144015" y="0"/>
                    <a:pt x="138067" y="0"/>
                  </a:cubicBezTo>
                  <a:close/>
                  <a:moveTo>
                    <a:pt x="138067" y="11062"/>
                  </a:moveTo>
                  <a:cubicBezTo>
                    <a:pt x="140030" y="11062"/>
                    <a:pt x="141994" y="12157"/>
                    <a:pt x="143238" y="14345"/>
                  </a:cubicBezTo>
                  <a:lnTo>
                    <a:pt x="263865" y="226470"/>
                  </a:lnTo>
                  <a:lnTo>
                    <a:pt x="263854" y="226470"/>
                  </a:lnTo>
                  <a:cubicBezTo>
                    <a:pt x="266337" y="230842"/>
                    <a:pt x="263507" y="235767"/>
                    <a:pt x="258683" y="235767"/>
                  </a:cubicBezTo>
                  <a:lnTo>
                    <a:pt x="17452" y="235767"/>
                  </a:lnTo>
                  <a:cubicBezTo>
                    <a:pt x="12628" y="235767"/>
                    <a:pt x="9789" y="230845"/>
                    <a:pt x="12269" y="226481"/>
                  </a:cubicBezTo>
                  <a:lnTo>
                    <a:pt x="132896" y="14345"/>
                  </a:lnTo>
                  <a:cubicBezTo>
                    <a:pt x="134140" y="12157"/>
                    <a:pt x="136104" y="11062"/>
                    <a:pt x="138067" y="11062"/>
                  </a:cubicBezTo>
                  <a:close/>
                  <a:moveTo>
                    <a:pt x="132300" y="80358"/>
                  </a:moveTo>
                  <a:cubicBezTo>
                    <a:pt x="129122" y="80358"/>
                    <a:pt x="126555" y="82936"/>
                    <a:pt x="126555" y="86114"/>
                  </a:cubicBezTo>
                  <a:lnTo>
                    <a:pt x="126555" y="166696"/>
                  </a:lnTo>
                  <a:cubicBezTo>
                    <a:pt x="126555" y="169874"/>
                    <a:pt x="129106" y="172452"/>
                    <a:pt x="132289" y="172452"/>
                  </a:cubicBezTo>
                  <a:lnTo>
                    <a:pt x="143823" y="172452"/>
                  </a:lnTo>
                  <a:cubicBezTo>
                    <a:pt x="147000" y="172452"/>
                    <a:pt x="149567" y="169874"/>
                    <a:pt x="149567" y="166696"/>
                  </a:cubicBezTo>
                  <a:lnTo>
                    <a:pt x="149579" y="86114"/>
                  </a:lnTo>
                  <a:cubicBezTo>
                    <a:pt x="149579" y="82936"/>
                    <a:pt x="147018" y="80358"/>
                    <a:pt x="143835" y="80358"/>
                  </a:cubicBezTo>
                  <a:lnTo>
                    <a:pt x="132300" y="80358"/>
                  </a:lnTo>
                  <a:close/>
                  <a:moveTo>
                    <a:pt x="132300" y="189720"/>
                  </a:moveTo>
                  <a:cubicBezTo>
                    <a:pt x="129122" y="189720"/>
                    <a:pt x="126555" y="192299"/>
                    <a:pt x="126555" y="195476"/>
                  </a:cubicBezTo>
                  <a:lnTo>
                    <a:pt x="126555" y="206988"/>
                  </a:lnTo>
                  <a:cubicBezTo>
                    <a:pt x="126555" y="210165"/>
                    <a:pt x="129117" y="212743"/>
                    <a:pt x="132300" y="212743"/>
                  </a:cubicBezTo>
                  <a:lnTo>
                    <a:pt x="143835" y="212743"/>
                  </a:lnTo>
                  <a:cubicBezTo>
                    <a:pt x="147012" y="212743"/>
                    <a:pt x="149579" y="210165"/>
                    <a:pt x="149579" y="206988"/>
                  </a:cubicBezTo>
                  <a:lnTo>
                    <a:pt x="149579" y="195476"/>
                  </a:lnTo>
                  <a:cubicBezTo>
                    <a:pt x="149579" y="192299"/>
                    <a:pt x="147018" y="189720"/>
                    <a:pt x="143835" y="189720"/>
                  </a:cubicBezTo>
                  <a:lnTo>
                    <a:pt x="132300" y="189720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2700000" scaled="0"/>
            </a:gradFill>
            <a:ln w="57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53" name="Grafik 52">
            <a:extLst>
              <a:ext uri="{FF2B5EF4-FFF2-40B4-BE49-F238E27FC236}">
                <a16:creationId xmlns:a16="http://schemas.microsoft.com/office/drawing/2014/main" id="{4A265663-1DD0-3CBD-085C-52B7EC772E12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5220234" y="1800734"/>
            <a:ext cx="2010082" cy="671741"/>
          </a:xfrm>
          <a:prstGeom prst="rect">
            <a:avLst/>
          </a:prstGeom>
        </p:spPr>
      </p:pic>
      <p:sp>
        <p:nvSpPr>
          <p:cNvPr id="78" name="Rectangle 5">
            <a:extLst>
              <a:ext uri="{FF2B5EF4-FFF2-40B4-BE49-F238E27FC236}">
                <a16:creationId xmlns:a16="http://schemas.microsoft.com/office/drawing/2014/main" id="{540811D7-276D-6E6B-E877-6EA7D1EE6F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" y="-9527"/>
            <a:ext cx="175844" cy="6876000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93000">
                <a:schemeClr val="accent1">
                  <a:alpha val="85000"/>
                </a:schemeClr>
              </a:gs>
            </a:gsLst>
            <a:lin ang="27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9475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8951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58426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77900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97375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6851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36326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55801" algn="l" defTabSz="519475" rtl="0" eaLnBrk="1" latinLnBrk="0" hangingPunct="1">
              <a:defRPr sz="20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90546">
              <a:defRPr/>
            </a:pPr>
            <a:endParaRPr lang="en-GB" sz="1951" kern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067060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39235C3-4B83-9F69-416D-AD2A35E548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MENTI </a:t>
            </a:r>
            <a:r>
              <a:rPr lang="de-DE" err="1"/>
              <a:t>SURVeY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7CDBC28-ABB9-E3B1-50B0-2C03730A803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509481"/>
            <a:ext cx="10944225" cy="369334"/>
          </a:xfrm>
        </p:spPr>
        <p:txBody>
          <a:bodyPr/>
          <a:lstStyle/>
          <a:p>
            <a:r>
              <a:rPr lang="en-US"/>
              <a:t>What are the top three Benefits you seek from the Usage of GenAI in Procurement?</a:t>
            </a:r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C71FCC0-A1CB-6AAD-63FA-69117923FF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2202" y="2019555"/>
            <a:ext cx="6910595" cy="3606994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ADEECE9-DBBB-ACCB-9247-231DBB8AA3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710" y="2753408"/>
            <a:ext cx="2873141" cy="2873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7822399-699A-5542-22A6-512BD49FA69A}"/>
              </a:ext>
            </a:extLst>
          </p:cNvPr>
          <p:cNvSpPr txBox="1"/>
          <p:nvPr/>
        </p:nvSpPr>
        <p:spPr>
          <a:xfrm>
            <a:off x="459606" y="1853226"/>
            <a:ext cx="4420402" cy="4070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/>
              <a:t>https://www.menti.com/alwh8grsop6s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554825A-F12A-A587-FA73-3B5099B23EFB}"/>
              </a:ext>
            </a:extLst>
          </p:cNvPr>
          <p:cNvCxnSpPr>
            <a:cxnSpLocks/>
          </p:cNvCxnSpPr>
          <p:nvPr/>
        </p:nvCxnSpPr>
        <p:spPr>
          <a:xfrm>
            <a:off x="5053263" y="1853226"/>
            <a:ext cx="0" cy="3941182"/>
          </a:xfrm>
          <a:prstGeom prst="line">
            <a:avLst/>
          </a:prstGeom>
          <a:ln w="12700">
            <a:solidFill>
              <a:srgbClr val="B7B1A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80865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E1DDFA-9764-5896-7B7F-5B5C4019E2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CE4F08E-6557-1505-6BF6-6788CB894A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MENTI </a:t>
            </a:r>
            <a:r>
              <a:rPr lang="de-DE" err="1"/>
              <a:t>SURVeY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BEACA71-93CA-DF2D-2430-F2675BCB67A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509481"/>
            <a:ext cx="10944225" cy="369334"/>
          </a:xfrm>
        </p:spPr>
        <p:txBody>
          <a:bodyPr/>
          <a:lstStyle/>
          <a:p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What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are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the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most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promising AI Use Cases for Procurement?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572B102-2DDB-07A7-EF82-2B62B09E68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2539" y="2088682"/>
            <a:ext cx="6455573" cy="3253943"/>
          </a:xfrm>
          <a:prstGeom prst="rect">
            <a:avLst/>
          </a:prstGeom>
        </p:spPr>
      </p:pic>
      <p:pic>
        <p:nvPicPr>
          <p:cNvPr id="11266" name="Picture 2">
            <a:extLst>
              <a:ext uri="{FF2B5EF4-FFF2-40B4-BE49-F238E27FC236}">
                <a16:creationId xmlns:a16="http://schemas.microsoft.com/office/drawing/2014/main" id="{1510A503-2B51-0A9D-8DDD-B20734FC9B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710" y="2753408"/>
            <a:ext cx="2873141" cy="2873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CE5C7A7-4086-E71B-F2C4-71188F5C682B}"/>
              </a:ext>
            </a:extLst>
          </p:cNvPr>
          <p:cNvSpPr txBox="1"/>
          <p:nvPr/>
        </p:nvSpPr>
        <p:spPr>
          <a:xfrm>
            <a:off x="459606" y="1853226"/>
            <a:ext cx="4420402" cy="4070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/>
              <a:t>https://www.menti.com/alwh8grsop6s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EA4EE6B-536D-0BD2-5033-B7C90DD0E78B}"/>
              </a:ext>
            </a:extLst>
          </p:cNvPr>
          <p:cNvCxnSpPr>
            <a:cxnSpLocks/>
          </p:cNvCxnSpPr>
          <p:nvPr/>
        </p:nvCxnSpPr>
        <p:spPr>
          <a:xfrm>
            <a:off x="5053263" y="1853226"/>
            <a:ext cx="0" cy="3941182"/>
          </a:xfrm>
          <a:prstGeom prst="line">
            <a:avLst/>
          </a:prstGeom>
          <a:ln w="12700">
            <a:solidFill>
              <a:srgbClr val="B7B1A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12783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D9CB42-139D-F03B-421E-3CE2CCEC3A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A1FA902-D41B-EF19-7E5E-C58AD24321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MENTI </a:t>
            </a:r>
            <a:r>
              <a:rPr lang="de-DE" err="1"/>
              <a:t>SURVeY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FDAE57E-977C-2744-5652-531138D7B82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509481"/>
            <a:ext cx="10944225" cy="369334"/>
          </a:xfrm>
        </p:spPr>
        <p:txBody>
          <a:bodyPr/>
          <a:lstStyle/>
          <a:p>
            <a:r>
              <a:rPr lang="en-US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Which measures are most important to prepare for an AI Implementation?</a:t>
            </a:r>
            <a:endParaRPr lang="de-DE">
              <a:gradFill>
                <a:gsLst>
                  <a:gs pos="0">
                    <a:schemeClr val="bg2"/>
                  </a:gs>
                  <a:gs pos="85000">
                    <a:schemeClr val="tx2"/>
                  </a:gs>
                </a:gsLst>
                <a:lin ang="2700000" scaled="0"/>
              </a:gradFill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1FB29373-832F-1828-F593-A82FA49B3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710" y="2753408"/>
            <a:ext cx="2873141" cy="2873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9A4A3D27-A5DF-4520-6A65-5BFFA72E319C}"/>
              </a:ext>
            </a:extLst>
          </p:cNvPr>
          <p:cNvSpPr txBox="1"/>
          <p:nvPr/>
        </p:nvSpPr>
        <p:spPr>
          <a:xfrm>
            <a:off x="459606" y="1853226"/>
            <a:ext cx="4420402" cy="4070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/>
              <a:t>https://www.menti.com/alwh8grsop6s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0E5FA1F9-7DF2-CF33-0B55-973C9E8AF338}"/>
              </a:ext>
            </a:extLst>
          </p:cNvPr>
          <p:cNvCxnSpPr>
            <a:cxnSpLocks/>
          </p:cNvCxnSpPr>
          <p:nvPr/>
        </p:nvCxnSpPr>
        <p:spPr>
          <a:xfrm>
            <a:off x="5053263" y="1853226"/>
            <a:ext cx="0" cy="3941182"/>
          </a:xfrm>
          <a:prstGeom prst="line">
            <a:avLst/>
          </a:prstGeom>
          <a:ln w="12700">
            <a:solidFill>
              <a:srgbClr val="B7B1A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2ECE59E1-1442-1412-ACA4-CA14966739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6519" y="1853226"/>
            <a:ext cx="6718032" cy="3546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7292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077058E-F7A1-0DFA-F21A-3AA5B15A197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509481"/>
            <a:ext cx="10944225" cy="369334"/>
          </a:xfrm>
        </p:spPr>
        <p:txBody>
          <a:bodyPr/>
          <a:lstStyle/>
          <a:p>
            <a:r>
              <a:rPr lang="de-DE" err="1"/>
              <a:t>From</a:t>
            </a:r>
            <a:r>
              <a:rPr lang="de-DE"/>
              <a:t> Hype to Reality – </a:t>
            </a:r>
            <a:r>
              <a:rPr lang="de-DE" err="1"/>
              <a:t>Let‘s</a:t>
            </a:r>
            <a:r>
              <a:rPr lang="de-DE"/>
              <a:t> boost </a:t>
            </a:r>
            <a:r>
              <a:rPr lang="de-DE" err="1"/>
              <a:t>value</a:t>
            </a:r>
            <a:r>
              <a:rPr lang="de-DE"/>
              <a:t> in </a:t>
            </a:r>
            <a:r>
              <a:rPr lang="de-DE" err="1"/>
              <a:t>procurement</a:t>
            </a:r>
            <a:r>
              <a:rPr lang="de-DE"/>
              <a:t>!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7BD68E5D-B859-4DDE-2314-DBE0E04563F4}"/>
              </a:ext>
            </a:extLst>
          </p:cNvPr>
          <p:cNvGrpSpPr/>
          <p:nvPr/>
        </p:nvGrpSpPr>
        <p:grpSpPr>
          <a:xfrm>
            <a:off x="2052239" y="1801272"/>
            <a:ext cx="8246794" cy="820410"/>
            <a:chOff x="2119615" y="1801272"/>
            <a:chExt cx="8246794" cy="820410"/>
          </a:xfrm>
        </p:grpSpPr>
        <p:sp>
          <p:nvSpPr>
            <p:cNvPr id="6" name="Titel 2">
              <a:extLst>
                <a:ext uri="{FF2B5EF4-FFF2-40B4-BE49-F238E27FC236}">
                  <a16:creationId xmlns:a16="http://schemas.microsoft.com/office/drawing/2014/main" id="{C0115F4F-9DEB-2E02-F40D-E7818A955BD1}"/>
                </a:ext>
              </a:extLst>
            </p:cNvPr>
            <p:cNvSpPr txBox="1">
              <a:spLocks/>
            </p:cNvSpPr>
            <p:nvPr/>
          </p:nvSpPr>
          <p:spPr>
            <a:xfrm>
              <a:off x="3311091" y="1801272"/>
              <a:ext cx="7055318" cy="82041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457189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itchFamily="34" charset="0"/>
                <a:buNone/>
                <a:defRPr lang="fr-FR" sz="2400" b="1" kern="1200" baseline="0" smtClean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1pPr>
            </a:lstStyle>
            <a:p>
              <a:r>
                <a:rPr lang="en-US" sz="1600">
                  <a:solidFill>
                    <a:schemeClr val="bg1">
                      <a:lumMod val="50000"/>
                    </a:schemeClr>
                  </a:solidFill>
                </a:rPr>
                <a:t>Proven AI use cases in procurement are delivering measurable value—from cost savings to increased efficiency—making AI not just a future concept, but a present-day competitive advantage</a:t>
              </a:r>
              <a:endParaRPr lang="de-DE" sz="16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297A1517-8848-98E0-061C-5CB28CB0BF76}"/>
                </a:ext>
              </a:extLst>
            </p:cNvPr>
            <p:cNvCxnSpPr>
              <a:cxnSpLocks/>
            </p:cNvCxnSpPr>
            <p:nvPr/>
          </p:nvCxnSpPr>
          <p:spPr>
            <a:xfrm>
              <a:off x="3160896" y="1888139"/>
              <a:ext cx="0" cy="663955"/>
            </a:xfrm>
            <a:prstGeom prst="line">
              <a:avLst/>
            </a:prstGeom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itel 2">
              <a:extLst>
                <a:ext uri="{FF2B5EF4-FFF2-40B4-BE49-F238E27FC236}">
                  <a16:creationId xmlns:a16="http://schemas.microsoft.com/office/drawing/2014/main" id="{2DBABEFD-7DA3-80E4-2590-64E0E4405C2B}"/>
                </a:ext>
              </a:extLst>
            </p:cNvPr>
            <p:cNvSpPr txBox="1">
              <a:spLocks/>
            </p:cNvSpPr>
            <p:nvPr/>
          </p:nvSpPr>
          <p:spPr>
            <a:xfrm>
              <a:off x="2119615" y="2026810"/>
              <a:ext cx="891087" cy="369334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457189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itchFamily="34" charset="0"/>
                <a:buNone/>
                <a:defRPr lang="fr-FR" sz="2400" b="1" kern="1200" baseline="0" smtClean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1pPr>
            </a:lstStyle>
            <a:p>
              <a:r>
                <a:rPr lang="en-US">
                  <a:gradFill>
                    <a:gsLst>
                      <a:gs pos="0">
                        <a:schemeClr val="bg2"/>
                      </a:gs>
                      <a:gs pos="85000">
                        <a:schemeClr val="tx2"/>
                      </a:gs>
                    </a:gsLst>
                    <a:lin ang="2700000" scaled="0"/>
                  </a:gradFill>
                </a:rPr>
                <a:t>VALUE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4B56EE1-66BA-2265-A167-11B18B2C4EEA}"/>
              </a:ext>
            </a:extLst>
          </p:cNvPr>
          <p:cNvGrpSpPr/>
          <p:nvPr/>
        </p:nvGrpSpPr>
        <p:grpSpPr>
          <a:xfrm>
            <a:off x="3022335" y="3362188"/>
            <a:ext cx="8739734" cy="820410"/>
            <a:chOff x="2858705" y="3103892"/>
            <a:chExt cx="8739734" cy="820410"/>
          </a:xfrm>
        </p:grpSpPr>
        <p:sp>
          <p:nvSpPr>
            <p:cNvPr id="7" name="Titel 2">
              <a:extLst>
                <a:ext uri="{FF2B5EF4-FFF2-40B4-BE49-F238E27FC236}">
                  <a16:creationId xmlns:a16="http://schemas.microsoft.com/office/drawing/2014/main" id="{CA1C0086-C6DC-4C7B-70FF-C97AA0C33998}"/>
                </a:ext>
              </a:extLst>
            </p:cNvPr>
            <p:cNvSpPr txBox="1">
              <a:spLocks/>
            </p:cNvSpPr>
            <p:nvPr/>
          </p:nvSpPr>
          <p:spPr>
            <a:xfrm>
              <a:off x="4976260" y="3103892"/>
              <a:ext cx="6622179" cy="82041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457189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itchFamily="34" charset="0"/>
                <a:buNone/>
                <a:defRPr lang="fr-FR" sz="2400" b="1" kern="1200" baseline="0" smtClean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1pPr>
            </a:lstStyle>
            <a:p>
              <a:r>
                <a:rPr lang="en-US" sz="1600">
                  <a:solidFill>
                    <a:schemeClr val="bg1">
                      <a:lumMod val="50000"/>
                    </a:schemeClr>
                  </a:solidFill>
                </a:rPr>
                <a:t>Successful AI adoption requires careful consideration of data quality, change management, and strategic alignment—it's not just about technology, but transforming processes and people.</a:t>
              </a:r>
              <a:endParaRPr lang="de-DE" sz="16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77A9F23B-FF43-A537-EA35-D5AFD64CEB65}"/>
                </a:ext>
              </a:extLst>
            </p:cNvPr>
            <p:cNvCxnSpPr>
              <a:cxnSpLocks/>
            </p:cNvCxnSpPr>
            <p:nvPr/>
          </p:nvCxnSpPr>
          <p:spPr>
            <a:xfrm>
              <a:off x="4824461" y="3190517"/>
              <a:ext cx="0" cy="663955"/>
            </a:xfrm>
            <a:prstGeom prst="line">
              <a:avLst/>
            </a:prstGeom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itel 2">
              <a:extLst>
                <a:ext uri="{FF2B5EF4-FFF2-40B4-BE49-F238E27FC236}">
                  <a16:creationId xmlns:a16="http://schemas.microsoft.com/office/drawing/2014/main" id="{A6EDF3CC-59AC-1EEB-CBC0-F6CA874CC496}"/>
                </a:ext>
              </a:extLst>
            </p:cNvPr>
            <p:cNvSpPr txBox="1">
              <a:spLocks/>
            </p:cNvSpPr>
            <p:nvPr/>
          </p:nvSpPr>
          <p:spPr>
            <a:xfrm>
              <a:off x="2858705" y="3334825"/>
              <a:ext cx="1813959" cy="369334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457189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itchFamily="34" charset="0"/>
                <a:buNone/>
                <a:defRPr lang="fr-FR" sz="2400" b="1" kern="1200" baseline="0" smtClean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1pPr>
            </a:lstStyle>
            <a:p>
              <a:r>
                <a:rPr lang="en-US">
                  <a:gradFill>
                    <a:gsLst>
                      <a:gs pos="0">
                        <a:schemeClr val="bg2"/>
                      </a:gs>
                      <a:gs pos="85000">
                        <a:schemeClr val="tx2"/>
                      </a:gs>
                    </a:gsLst>
                    <a:lin ang="2700000" scaled="0"/>
                  </a:gradFill>
                </a:rPr>
                <a:t>FOUNDATION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B0C231D1-9881-19B6-78EE-33480C7124D4}"/>
              </a:ext>
            </a:extLst>
          </p:cNvPr>
          <p:cNvGrpSpPr/>
          <p:nvPr/>
        </p:nvGrpSpPr>
        <p:grpSpPr>
          <a:xfrm>
            <a:off x="4607193" y="4942354"/>
            <a:ext cx="7510915" cy="820410"/>
            <a:chOff x="4405162" y="4483512"/>
            <a:chExt cx="7510915" cy="820410"/>
          </a:xfrm>
        </p:grpSpPr>
        <p:sp>
          <p:nvSpPr>
            <p:cNvPr id="8" name="Titel 2">
              <a:extLst>
                <a:ext uri="{FF2B5EF4-FFF2-40B4-BE49-F238E27FC236}">
                  <a16:creationId xmlns:a16="http://schemas.microsoft.com/office/drawing/2014/main" id="{B700A752-2948-EE95-6AE1-F2CF5C4E006C}"/>
                </a:ext>
              </a:extLst>
            </p:cNvPr>
            <p:cNvSpPr txBox="1">
              <a:spLocks/>
            </p:cNvSpPr>
            <p:nvPr/>
          </p:nvSpPr>
          <p:spPr>
            <a:xfrm>
              <a:off x="6217919" y="4483512"/>
              <a:ext cx="5698158" cy="82041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457189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itchFamily="34" charset="0"/>
                <a:buNone/>
                <a:defRPr lang="fr-FR" sz="2400" b="1" kern="1200" baseline="0" smtClean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1pPr>
            </a:lstStyle>
            <a:p>
              <a:r>
                <a:rPr lang="en-US" sz="1600">
                  <a:solidFill>
                    <a:schemeClr val="bg1">
                      <a:lumMod val="50000"/>
                    </a:schemeClr>
                  </a:solidFill>
                </a:rPr>
                <a:t>By focusing on practical use cases and implementation best practices, organizations can unlock AI’s full potential to drive smarter, faster, and more resilient procurement operations.</a:t>
              </a:r>
              <a:endParaRPr lang="de-DE" sz="16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E0F948F0-4227-8579-722A-2E9AEF15EACD}"/>
                </a:ext>
              </a:extLst>
            </p:cNvPr>
            <p:cNvCxnSpPr>
              <a:cxnSpLocks/>
            </p:cNvCxnSpPr>
            <p:nvPr/>
          </p:nvCxnSpPr>
          <p:spPr>
            <a:xfrm>
              <a:off x="6054891" y="4560512"/>
              <a:ext cx="0" cy="663955"/>
            </a:xfrm>
            <a:prstGeom prst="line">
              <a:avLst/>
            </a:prstGeom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itel 2">
              <a:extLst>
                <a:ext uri="{FF2B5EF4-FFF2-40B4-BE49-F238E27FC236}">
                  <a16:creationId xmlns:a16="http://schemas.microsoft.com/office/drawing/2014/main" id="{BECD76D9-C006-3412-3500-EE344866525F}"/>
                </a:ext>
              </a:extLst>
            </p:cNvPr>
            <p:cNvSpPr txBox="1">
              <a:spLocks/>
            </p:cNvSpPr>
            <p:nvPr/>
          </p:nvSpPr>
          <p:spPr>
            <a:xfrm>
              <a:off x="4405162" y="4704820"/>
              <a:ext cx="1486702" cy="369334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457189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itchFamily="34" charset="0"/>
                <a:buNone/>
                <a:defRPr lang="fr-FR" sz="2400" b="1" kern="1200" baseline="0" smtClean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1pPr>
            </a:lstStyle>
            <a:p>
              <a:r>
                <a:rPr lang="en-US">
                  <a:gradFill>
                    <a:gsLst>
                      <a:gs pos="0">
                        <a:schemeClr val="bg2"/>
                      </a:gs>
                      <a:gs pos="85000">
                        <a:schemeClr val="tx2"/>
                      </a:gs>
                    </a:gsLst>
                    <a:lin ang="2700000" scaled="0"/>
                  </a:gradFill>
                </a:rPr>
                <a:t>POTENTIAL</a:t>
              </a:r>
            </a:p>
          </p:txBody>
        </p:sp>
      </p:grpSp>
      <p:pic>
        <p:nvPicPr>
          <p:cNvPr id="13314" name="Picture 2" descr="Leonardo Dicaprio jubelt. Lustiges Meme Sticker">
            <a:extLst>
              <a:ext uri="{FF2B5EF4-FFF2-40B4-BE49-F238E27FC236}">
                <a16:creationId xmlns:a16="http://schemas.microsoft.com/office/drawing/2014/main" id="{F0F412D6-9637-64A5-CE46-2A78974044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7079" y="2877953"/>
            <a:ext cx="3989671" cy="3989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72617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65D2E20-C696-F442-4848-FB571C0F1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5" y="188385"/>
            <a:ext cx="6899485" cy="820872"/>
          </a:xfrm>
        </p:spPr>
        <p:txBody>
          <a:bodyPr/>
          <a:lstStyle/>
          <a:p>
            <a:r>
              <a:rPr lang="de-DE"/>
              <a:t>Contact</a:t>
            </a:r>
            <a:endParaRPr lang="en-US"/>
          </a:p>
        </p:txBody>
      </p:sp>
      <p:sp>
        <p:nvSpPr>
          <p:cNvPr id="34" name="Rectangle 2">
            <a:extLst>
              <a:ext uri="{FF2B5EF4-FFF2-40B4-BE49-F238E27FC236}">
                <a16:creationId xmlns:a16="http://schemas.microsoft.com/office/drawing/2014/main" id="{5D113F5F-C741-C43A-0C46-043374058B72}"/>
              </a:ext>
            </a:extLst>
          </p:cNvPr>
          <p:cNvSpPr/>
          <p:nvPr/>
        </p:nvSpPr>
        <p:spPr>
          <a:xfrm>
            <a:off x="334435" y="2349000"/>
            <a:ext cx="3888000" cy="2160000"/>
          </a:xfrm>
          <a:prstGeom prst="rect">
            <a:avLst/>
          </a:prstGeom>
          <a:solidFill>
            <a:srgbClr val="3D3D3D">
              <a:alpha val="77000"/>
            </a:srgbClr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TextBox 4">
            <a:extLst>
              <a:ext uri="{FF2B5EF4-FFF2-40B4-BE49-F238E27FC236}">
                <a16:creationId xmlns:a16="http://schemas.microsoft.com/office/drawing/2014/main" id="{86F5BEDD-4FC6-E244-CA69-8A8DB06FA70E}"/>
              </a:ext>
            </a:extLst>
          </p:cNvPr>
          <p:cNvSpPr txBox="1"/>
          <p:nvPr/>
        </p:nvSpPr>
        <p:spPr>
          <a:xfrm>
            <a:off x="448487" y="2887841"/>
            <a:ext cx="2565846" cy="43088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becca Hamm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ior Manager</a:t>
            </a:r>
          </a:p>
        </p:txBody>
      </p:sp>
      <p:sp>
        <p:nvSpPr>
          <p:cNvPr id="36" name="TextBox 5">
            <a:extLst>
              <a:ext uri="{FF2B5EF4-FFF2-40B4-BE49-F238E27FC236}">
                <a16:creationId xmlns:a16="http://schemas.microsoft.com/office/drawing/2014/main" id="{F6044815-5172-3F91-C04A-CEF38B906A61}"/>
              </a:ext>
            </a:extLst>
          </p:cNvPr>
          <p:cNvSpPr txBox="1"/>
          <p:nvPr/>
        </p:nvSpPr>
        <p:spPr>
          <a:xfrm>
            <a:off x="448487" y="3334752"/>
            <a:ext cx="1692816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aringPoint Gmb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icherst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0327 Frankfurt am M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rmany</a:t>
            </a:r>
          </a:p>
        </p:txBody>
      </p:sp>
      <p:sp>
        <p:nvSpPr>
          <p:cNvPr id="37" name="TextBox 6">
            <a:extLst>
              <a:ext uri="{FF2B5EF4-FFF2-40B4-BE49-F238E27FC236}">
                <a16:creationId xmlns:a16="http://schemas.microsoft.com/office/drawing/2014/main" id="{07A887CE-1171-8B29-3105-10ADA92C2C72}"/>
              </a:ext>
            </a:extLst>
          </p:cNvPr>
          <p:cNvSpPr txBox="1"/>
          <p:nvPr/>
        </p:nvSpPr>
        <p:spPr>
          <a:xfrm>
            <a:off x="448486" y="4204913"/>
            <a:ext cx="2920927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becca.hammer@bearingpoint.com</a:t>
            </a:r>
          </a:p>
        </p:txBody>
      </p:sp>
      <p:sp>
        <p:nvSpPr>
          <p:cNvPr id="38" name="TextBox 7">
            <a:extLst>
              <a:ext uri="{FF2B5EF4-FFF2-40B4-BE49-F238E27FC236}">
                <a16:creationId xmlns:a16="http://schemas.microsoft.com/office/drawing/2014/main" id="{0535A4ED-5A38-C747-0A54-DF9B8888E065}"/>
              </a:ext>
            </a:extLst>
          </p:cNvPr>
          <p:cNvSpPr txBox="1"/>
          <p:nvPr/>
        </p:nvSpPr>
        <p:spPr>
          <a:xfrm>
            <a:off x="2194191" y="3334752"/>
            <a:ext cx="1692816" cy="43088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6209" algn="l"/>
              </a:tabLst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	+49 151 2031 1187 www.bearingpoint.com</a:t>
            </a:r>
          </a:p>
        </p:txBody>
      </p:sp>
      <p:pic>
        <p:nvPicPr>
          <p:cNvPr id="39" name="Picture 13">
            <a:extLst>
              <a:ext uri="{FF2B5EF4-FFF2-40B4-BE49-F238E27FC236}">
                <a16:creationId xmlns:a16="http://schemas.microsoft.com/office/drawing/2014/main" id="{D2C8BBF5-FC1D-A1BB-BCA5-4E9A0FD9AD4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526" y="2562033"/>
            <a:ext cx="1246624" cy="205163"/>
          </a:xfrm>
          <a:prstGeom prst="rect">
            <a:avLst/>
          </a:prstGeom>
        </p:spPr>
      </p:pic>
      <p:pic>
        <p:nvPicPr>
          <p:cNvPr id="47" name="Bildplatzhalter 8">
            <a:extLst>
              <a:ext uri="{FF2B5EF4-FFF2-40B4-BE49-F238E27FC236}">
                <a16:creationId xmlns:a16="http://schemas.microsoft.com/office/drawing/2014/main" id="{04CE0984-BE30-7340-87DA-A02BBEA240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89" r="24989"/>
          <a:stretch/>
        </p:blipFill>
        <p:spPr>
          <a:xfrm>
            <a:off x="3449351" y="2445478"/>
            <a:ext cx="655321" cy="87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179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5B3A98C-C95C-6539-1BAE-8820F5E190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5329ADEF-CC23-15A8-07E4-6DBC4CC6CA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1" y="109536"/>
            <a:ext cx="5311140" cy="6638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C870FBDC-15B1-D27A-C7D0-3A5E272D77ED}"/>
              </a:ext>
            </a:extLst>
          </p:cNvPr>
          <p:cNvSpPr txBox="1"/>
          <p:nvPr/>
        </p:nvSpPr>
        <p:spPr>
          <a:xfrm>
            <a:off x="1371601" y="1807339"/>
            <a:ext cx="41148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000" err="1">
                <a:solidFill>
                  <a:schemeClr val="bg1"/>
                </a:solidFill>
                <a:latin typeface="BearingPoint Sans Latin" panose="00000800000000000000" pitchFamily="50" charset="0"/>
              </a:rPr>
              <a:t>every</a:t>
            </a:r>
            <a:r>
              <a:rPr lang="de-DE" sz="6000">
                <a:solidFill>
                  <a:schemeClr val="bg1"/>
                </a:solidFill>
                <a:latin typeface="BearingPoint Sans Latin" panose="00000800000000000000" pitchFamily="50" charset="0"/>
              </a:rPr>
              <a:t> </a:t>
            </a:r>
            <a:r>
              <a:rPr lang="de-DE" sz="6000" err="1">
                <a:solidFill>
                  <a:schemeClr val="bg1"/>
                </a:solidFill>
                <a:latin typeface="BearingPoint Sans Latin" panose="00000800000000000000" pitchFamily="50" charset="0"/>
              </a:rPr>
              <a:t>company</a:t>
            </a:r>
            <a:r>
              <a:rPr lang="de-DE" sz="6000">
                <a:solidFill>
                  <a:schemeClr val="bg1"/>
                </a:solidFill>
                <a:latin typeface="BearingPoint Sans Latin" panose="00000800000000000000" pitchFamily="50" charset="0"/>
              </a:rPr>
              <a:t> </a:t>
            </a:r>
            <a:r>
              <a:rPr lang="de-DE" sz="6000" err="1">
                <a:solidFill>
                  <a:schemeClr val="bg1"/>
                </a:solidFill>
                <a:latin typeface="BearingPoint Sans Latin" panose="00000800000000000000" pitchFamily="50" charset="0"/>
              </a:rPr>
              <a:t>right</a:t>
            </a:r>
            <a:r>
              <a:rPr lang="de-DE" sz="6000">
                <a:solidFill>
                  <a:schemeClr val="bg1"/>
                </a:solidFill>
                <a:latin typeface="BearingPoint Sans Latin" panose="00000800000000000000" pitchFamily="50" charset="0"/>
              </a:rPr>
              <a:t> </a:t>
            </a:r>
            <a:r>
              <a:rPr lang="de-DE" sz="6000" err="1">
                <a:solidFill>
                  <a:schemeClr val="bg1"/>
                </a:solidFill>
                <a:latin typeface="BearingPoint Sans Latin" panose="00000800000000000000" pitchFamily="50" charset="0"/>
              </a:rPr>
              <a:t>now</a:t>
            </a:r>
            <a:endParaRPr lang="de-DE" sz="6000">
              <a:solidFill>
                <a:schemeClr val="bg1"/>
              </a:solidFill>
              <a:latin typeface="BearingPoint Sans Latin" panose="000008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1568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6BADD3C-A09D-392C-8510-091127FD5A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(Gen)AI as Gamechanger in Procuremen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4E15E1D-C4DD-8A5E-9348-FE60A6E7C49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509481"/>
            <a:ext cx="10944225" cy="369334"/>
          </a:xfrm>
        </p:spPr>
        <p:txBody>
          <a:bodyPr/>
          <a:lstStyle/>
          <a:p>
            <a:r>
              <a:rPr lang="en-US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How are Procurement Organizations preparing for the (Gen)AI Revolution?</a:t>
            </a:r>
            <a:endParaRPr lang="de-DE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C5A92365-0484-9ABB-4CD7-E949681C5D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81"/>
          <a:stretch/>
        </p:blipFill>
        <p:spPr bwMode="auto">
          <a:xfrm>
            <a:off x="442914" y="1389240"/>
            <a:ext cx="7996236" cy="496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2FF774D9-A3E8-F849-97BF-651751F6C20D}"/>
              </a:ext>
            </a:extLst>
          </p:cNvPr>
          <p:cNvSpPr txBox="1"/>
          <p:nvPr/>
        </p:nvSpPr>
        <p:spPr>
          <a:xfrm>
            <a:off x="8439150" y="2113995"/>
            <a:ext cx="3557135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en-US" sz="2000" b="1">
                <a:solidFill>
                  <a:schemeClr val="tx2"/>
                </a:solidFill>
                <a:latin typeface="Calibri"/>
              </a:rPr>
              <a:t>73% </a:t>
            </a:r>
            <a:r>
              <a:rPr lang="en-US" sz="1200" b="1">
                <a:solidFill>
                  <a:schemeClr val="tx2"/>
                </a:solidFill>
                <a:latin typeface="Calibri"/>
              </a:rPr>
              <a:t>of procurement organizations have plans to implement </a:t>
            </a:r>
            <a:r>
              <a:rPr lang="en-US" sz="1200" b="1" err="1">
                <a:solidFill>
                  <a:schemeClr val="tx2"/>
                </a:solidFill>
                <a:latin typeface="Calibri"/>
              </a:rPr>
              <a:t>GenAI</a:t>
            </a:r>
            <a:r>
              <a:rPr lang="en-US" sz="1200" b="1">
                <a:solidFill>
                  <a:schemeClr val="tx2"/>
                </a:solidFill>
                <a:latin typeface="Calibri"/>
              </a:rPr>
              <a:t> by end of 2024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endParaRPr lang="en-US" sz="1000" b="1">
              <a:solidFill>
                <a:schemeClr val="tx2"/>
              </a:solidFill>
              <a:latin typeface="Calibri"/>
            </a:endParaRP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en-US" sz="1200" b="1">
                <a:solidFill>
                  <a:schemeClr val="tx2"/>
                </a:solidFill>
                <a:latin typeface="Calibri"/>
              </a:rPr>
              <a:t>Within </a:t>
            </a:r>
            <a:r>
              <a:rPr lang="en-US" sz="2000" b="1">
                <a:solidFill>
                  <a:schemeClr val="tx2"/>
                </a:solidFill>
                <a:latin typeface="Calibri"/>
              </a:rPr>
              <a:t>2-5 years</a:t>
            </a:r>
            <a:r>
              <a:rPr lang="en-US" sz="1200" b="1">
                <a:solidFill>
                  <a:schemeClr val="tx2"/>
                </a:solidFill>
                <a:latin typeface="Calibri"/>
              </a:rPr>
              <a:t>, </a:t>
            </a:r>
            <a:r>
              <a:rPr lang="en-US" sz="1200" b="1" err="1">
                <a:solidFill>
                  <a:schemeClr val="tx2"/>
                </a:solidFill>
                <a:latin typeface="Calibri"/>
              </a:rPr>
              <a:t>GenAI</a:t>
            </a:r>
            <a:r>
              <a:rPr lang="en-US" sz="1200" b="1">
                <a:solidFill>
                  <a:schemeClr val="tx2"/>
                </a:solidFill>
                <a:latin typeface="Calibri"/>
              </a:rPr>
              <a:t> is expected to have reached mainstream adoption with being at the highest of its productivity plateau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endParaRPr lang="en-US" sz="1600" b="1">
              <a:solidFill>
                <a:schemeClr val="tx2"/>
              </a:solidFill>
              <a:latin typeface="Calibri"/>
            </a:endParaRPr>
          </a:p>
          <a:p>
            <a:pPr defTabSz="457189">
              <a:lnSpc>
                <a:spcPct val="100000"/>
              </a:lnSpc>
              <a:spcBef>
                <a:spcPct val="0"/>
              </a:spcBef>
            </a:pPr>
            <a:r>
              <a:rPr lang="en-US" sz="2000" b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  <a:latin typeface="+mj-lt"/>
              </a:rPr>
              <a:t>The Innovations included in the Hype Cycle help Procurement Leaders to set a Strategy and Timeline for Adoption!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endParaRPr lang="en-US" sz="2000" b="1">
              <a:solidFill>
                <a:schemeClr val="tx2"/>
              </a:solidFill>
              <a:latin typeface="Calibri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6B9ACB6-1AAC-4C5E-1447-05B80D148E8F}"/>
              </a:ext>
            </a:extLst>
          </p:cNvPr>
          <p:cNvSpPr txBox="1"/>
          <p:nvPr/>
        </p:nvSpPr>
        <p:spPr>
          <a:xfrm>
            <a:off x="293131" y="6596574"/>
            <a:ext cx="609765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00" b="1" i="1">
                <a:solidFill>
                  <a:srgbClr val="000000"/>
                </a:solidFill>
                <a:latin typeface="Calibri"/>
              </a:rPr>
              <a:t>*Source: </a:t>
            </a:r>
            <a:r>
              <a:rPr lang="en-US" sz="700">
                <a:solidFill>
                  <a:srgbClr val="000000"/>
                </a:solidFill>
                <a:latin typeface="Calibri"/>
              </a:rPr>
              <a:t>Gartner Hype Cycle for Procurement</a:t>
            </a:r>
            <a:endParaRPr lang="en-US" sz="70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F3CABF7-25B7-5060-8235-C740391B1737}"/>
              </a:ext>
            </a:extLst>
          </p:cNvPr>
          <p:cNvSpPr txBox="1"/>
          <p:nvPr/>
        </p:nvSpPr>
        <p:spPr>
          <a:xfrm>
            <a:off x="4781550" y="1389240"/>
            <a:ext cx="41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697124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03" name="Rechteck 8202">
            <a:extLst>
              <a:ext uri="{FF2B5EF4-FFF2-40B4-BE49-F238E27FC236}">
                <a16:creationId xmlns:a16="http://schemas.microsoft.com/office/drawing/2014/main" id="{0419EC3A-82F1-FA17-D2D4-FA1F5DC9F662}"/>
              </a:ext>
            </a:extLst>
          </p:cNvPr>
          <p:cNvSpPr/>
          <p:nvPr/>
        </p:nvSpPr>
        <p:spPr>
          <a:xfrm>
            <a:off x="234446" y="4920347"/>
            <a:ext cx="11544300" cy="14827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8B209CD-8F1D-E541-147C-8E799789F8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Heterogeneous Ai Vendor Marke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7CD59DA-3FD8-47FE-113D-8207972CCED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509481"/>
            <a:ext cx="10944225" cy="369334"/>
          </a:xfrm>
        </p:spPr>
        <p:txBody>
          <a:bodyPr/>
          <a:lstStyle/>
          <a:p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What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the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(Vendor) Market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has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to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offer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for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(Gen)AI in Procurement</a:t>
            </a:r>
          </a:p>
        </p:txBody>
      </p:sp>
      <p:sp>
        <p:nvSpPr>
          <p:cNvPr id="4" name="Pfeil: Fünfeck 3">
            <a:extLst>
              <a:ext uri="{FF2B5EF4-FFF2-40B4-BE49-F238E27FC236}">
                <a16:creationId xmlns:a16="http://schemas.microsoft.com/office/drawing/2014/main" id="{1DBD9A08-C373-5EF3-4A76-9517DFAF1C3A}"/>
              </a:ext>
            </a:extLst>
          </p:cNvPr>
          <p:cNvSpPr/>
          <p:nvPr/>
        </p:nvSpPr>
        <p:spPr>
          <a:xfrm>
            <a:off x="0" y="2274651"/>
            <a:ext cx="6096000" cy="238125"/>
          </a:xfrm>
          <a:prstGeom prst="homePlate">
            <a:avLst/>
          </a:prstGeom>
          <a:gradFill flip="none" rotWithShape="1">
            <a:gsLst>
              <a:gs pos="30000">
                <a:schemeClr val="bg2"/>
              </a:gs>
              <a:gs pos="100000">
                <a:schemeClr val="tx2"/>
              </a:gs>
            </a:gsLst>
            <a:lin ang="10800000" scaled="1"/>
            <a:tileRect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>
                <a:solidFill>
                  <a:schemeClr val="bg1"/>
                </a:solidFill>
              </a:rPr>
              <a:t>SOURCE-TO-CONTRACT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751E9574-9C3A-3D36-DF3D-A265DD52781E}"/>
              </a:ext>
            </a:extLst>
          </p:cNvPr>
          <p:cNvSpPr/>
          <p:nvPr/>
        </p:nvSpPr>
        <p:spPr>
          <a:xfrm>
            <a:off x="6096000" y="2274651"/>
            <a:ext cx="6096000" cy="238125"/>
          </a:xfrm>
          <a:prstGeom prst="chevron">
            <a:avLst/>
          </a:prstGeom>
          <a:gradFill flip="none" rotWithShape="1">
            <a:gsLst>
              <a:gs pos="30000">
                <a:schemeClr val="bg2"/>
              </a:gs>
              <a:gs pos="100000">
                <a:schemeClr val="tx2"/>
              </a:gs>
            </a:gsLst>
            <a:lin ang="0" scaled="1"/>
            <a:tileRect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>
                <a:solidFill>
                  <a:schemeClr val="bg1"/>
                </a:solidFill>
              </a:rPr>
              <a:t>PROCURE-TO-PAY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19A4C52-FC76-301B-934C-12447C5DA364}"/>
              </a:ext>
            </a:extLst>
          </p:cNvPr>
          <p:cNvSpPr txBox="1"/>
          <p:nvPr/>
        </p:nvSpPr>
        <p:spPr>
          <a:xfrm>
            <a:off x="413900" y="2590478"/>
            <a:ext cx="8927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STRATEGIC </a:t>
            </a:r>
          </a:p>
          <a:p>
            <a:pPr algn="ctr"/>
            <a:r>
              <a:rPr lang="de-DE" sz="1200"/>
              <a:t>SOURCING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A775E04-B4D6-7F7F-F26B-50D5BC491A21}"/>
              </a:ext>
            </a:extLst>
          </p:cNvPr>
          <p:cNvSpPr txBox="1"/>
          <p:nvPr/>
        </p:nvSpPr>
        <p:spPr>
          <a:xfrm>
            <a:off x="1516984" y="2590478"/>
            <a:ext cx="11485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SUPPLIER</a:t>
            </a:r>
          </a:p>
          <a:p>
            <a:pPr algn="ctr"/>
            <a:r>
              <a:rPr lang="de-DE" sz="1200"/>
              <a:t>MANAGEMEN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638C6F4-3990-BA80-5E0C-A7C20851C38E}"/>
              </a:ext>
            </a:extLst>
          </p:cNvPr>
          <p:cNvSpPr txBox="1"/>
          <p:nvPr/>
        </p:nvSpPr>
        <p:spPr>
          <a:xfrm>
            <a:off x="2875843" y="2590478"/>
            <a:ext cx="11485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CONTRACT </a:t>
            </a:r>
          </a:p>
          <a:p>
            <a:pPr algn="ctr"/>
            <a:r>
              <a:rPr lang="de-DE" sz="1200"/>
              <a:t>MANAGEMENT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FF06213-49E3-520F-8554-486EC3AB6B55}"/>
              </a:ext>
            </a:extLst>
          </p:cNvPr>
          <p:cNvSpPr txBox="1"/>
          <p:nvPr/>
        </p:nvSpPr>
        <p:spPr>
          <a:xfrm>
            <a:off x="5593561" y="2590478"/>
            <a:ext cx="10200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PURCHASING</a:t>
            </a:r>
          </a:p>
          <a:p>
            <a:pPr algn="ctr"/>
            <a:r>
              <a:rPr lang="de-DE" sz="1200"/>
              <a:t>ANALYTIC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3678727-17B3-0C6E-7301-95C842E62456}"/>
              </a:ext>
            </a:extLst>
          </p:cNvPr>
          <p:cNvSpPr txBox="1"/>
          <p:nvPr/>
        </p:nvSpPr>
        <p:spPr>
          <a:xfrm>
            <a:off x="8214200" y="2590478"/>
            <a:ext cx="11485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ORDER </a:t>
            </a:r>
          </a:p>
          <a:p>
            <a:pPr algn="ctr"/>
            <a:r>
              <a:rPr lang="de-DE" sz="1200"/>
              <a:t>MANAGEMEN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CA6976F-355C-FCF4-05B1-B62D2AABDEC0}"/>
              </a:ext>
            </a:extLst>
          </p:cNvPr>
          <p:cNvSpPr txBox="1"/>
          <p:nvPr/>
        </p:nvSpPr>
        <p:spPr>
          <a:xfrm>
            <a:off x="9573059" y="2682811"/>
            <a:ext cx="8654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INVOICI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EB3221A-7E44-712F-3A1A-6BC308447F07}"/>
              </a:ext>
            </a:extLst>
          </p:cNvPr>
          <p:cNvSpPr txBox="1"/>
          <p:nvPr/>
        </p:nvSpPr>
        <p:spPr>
          <a:xfrm>
            <a:off x="10648892" y="2682811"/>
            <a:ext cx="788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PAYMEN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FD938E7-CE45-F869-C1FF-61C516678F41}"/>
              </a:ext>
            </a:extLst>
          </p:cNvPr>
          <p:cNvSpPr txBox="1"/>
          <p:nvPr/>
        </p:nvSpPr>
        <p:spPr>
          <a:xfrm>
            <a:off x="4234702" y="2590478"/>
            <a:ext cx="11485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RISK</a:t>
            </a:r>
          </a:p>
          <a:p>
            <a:pPr algn="ctr"/>
            <a:r>
              <a:rPr lang="de-DE" sz="1200"/>
              <a:t>MANAGEMEN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EA60F55-BA68-0F0C-DFA0-95A62EA1ADFF}"/>
              </a:ext>
            </a:extLst>
          </p:cNvPr>
          <p:cNvSpPr txBox="1"/>
          <p:nvPr/>
        </p:nvSpPr>
        <p:spPr>
          <a:xfrm>
            <a:off x="6823986" y="2682811"/>
            <a:ext cx="11798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SUSTAINABILITY</a:t>
            </a:r>
          </a:p>
        </p:txBody>
      </p:sp>
      <p:pic>
        <p:nvPicPr>
          <p:cNvPr id="19" name="Picture 2" descr="IBM Watson Logo - FREE Vector Design - Cdr, Ai, EPS, PNG, SVG">
            <a:extLst>
              <a:ext uri="{FF2B5EF4-FFF2-40B4-BE49-F238E27FC236}">
                <a16:creationId xmlns:a16="http://schemas.microsoft.com/office/drawing/2014/main" id="{DEA38F62-96A1-A1C6-DA48-BF90BFA76F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418" y="5344189"/>
            <a:ext cx="1002449" cy="566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2DD4AE65-200D-8E37-CF18-7B7D7DE14D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59" y="6066186"/>
            <a:ext cx="1058766" cy="137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313D2D5F-261D-65D6-7222-81544DE443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38" b="25449"/>
          <a:stretch/>
        </p:blipFill>
        <p:spPr bwMode="auto">
          <a:xfrm>
            <a:off x="2572355" y="6025031"/>
            <a:ext cx="1118746" cy="271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0" descr="EUROPAS FÜHRENDER VERTRIEBSPARTNER VON AUTOMOTIVE-AFTERMARKET-TEILEN  ENTSCHEIDET SICH FÜR DIE BESCHAFFUNGS- UND LIEFERKETTENSOFTWARE VON GEP UND  GEHT LIVE">
            <a:extLst>
              <a:ext uri="{FF2B5EF4-FFF2-40B4-BE49-F238E27FC236}">
                <a16:creationId xmlns:a16="http://schemas.microsoft.com/office/drawing/2014/main" id="{FA5AC7E7-595D-F42A-FBD2-B0871CD7C1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1377" y="5444479"/>
            <a:ext cx="798721" cy="417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">
            <a:extLst>
              <a:ext uri="{FF2B5EF4-FFF2-40B4-BE49-F238E27FC236}">
                <a16:creationId xmlns:a16="http://schemas.microsoft.com/office/drawing/2014/main" id="{1105E95F-810A-96D4-8BC3-2112A17601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71" b="23003"/>
          <a:stretch/>
        </p:blipFill>
        <p:spPr bwMode="auto">
          <a:xfrm>
            <a:off x="4349054" y="5480773"/>
            <a:ext cx="1186236" cy="350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4" descr="Globality Vector Logo - Download Free SVG Icon | Worldvectorlogo">
            <a:extLst>
              <a:ext uri="{FF2B5EF4-FFF2-40B4-BE49-F238E27FC236}">
                <a16:creationId xmlns:a16="http://schemas.microsoft.com/office/drawing/2014/main" id="{D6E95A41-2B0B-1FD8-6E4D-0E66ADBF67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8576" y="6052764"/>
            <a:ext cx="1028940" cy="222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6">
            <a:extLst>
              <a:ext uri="{FF2B5EF4-FFF2-40B4-BE49-F238E27FC236}">
                <a16:creationId xmlns:a16="http://schemas.microsoft.com/office/drawing/2014/main" id="{73711056-3BE0-1C43-1E6C-0836B71BC7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51" b="21043"/>
          <a:stretch/>
        </p:blipFill>
        <p:spPr bwMode="auto">
          <a:xfrm>
            <a:off x="6309049" y="5491225"/>
            <a:ext cx="998150" cy="320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8">
            <a:extLst>
              <a:ext uri="{FF2B5EF4-FFF2-40B4-BE49-F238E27FC236}">
                <a16:creationId xmlns:a16="http://schemas.microsoft.com/office/drawing/2014/main" id="{811C242F-FF0A-D5E4-621D-304CD09D3C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8394" y="6090260"/>
            <a:ext cx="1353837" cy="137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0" name="Picture 20" descr="Basware verbessert seine Prozesse und verwaltet sein Projektportfolio  besser - Planview">
            <a:extLst>
              <a:ext uri="{FF2B5EF4-FFF2-40B4-BE49-F238E27FC236}">
                <a16:creationId xmlns:a16="http://schemas.microsoft.com/office/drawing/2014/main" id="{FF19D6DB-FC2F-0A6F-42F9-27373461EE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546" b="38636"/>
          <a:stretch/>
        </p:blipFill>
        <p:spPr bwMode="auto">
          <a:xfrm>
            <a:off x="8257772" y="5491225"/>
            <a:ext cx="1379517" cy="300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1" name="Picture 22">
            <a:extLst>
              <a:ext uri="{FF2B5EF4-FFF2-40B4-BE49-F238E27FC236}">
                <a16:creationId xmlns:a16="http://schemas.microsoft.com/office/drawing/2014/main" id="{84F4729E-DC42-82B2-283B-88C1D81CC9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0125" y="5956928"/>
            <a:ext cx="894811" cy="384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13" name="Rechteck 8212">
            <a:extLst>
              <a:ext uri="{FF2B5EF4-FFF2-40B4-BE49-F238E27FC236}">
                <a16:creationId xmlns:a16="http://schemas.microsoft.com/office/drawing/2014/main" id="{957D0DF4-77B2-6D27-B7FE-1A1459FEDF81}"/>
              </a:ext>
            </a:extLst>
          </p:cNvPr>
          <p:cNvSpPr/>
          <p:nvPr/>
        </p:nvSpPr>
        <p:spPr>
          <a:xfrm>
            <a:off x="369799" y="5052467"/>
            <a:ext cx="11273692" cy="30001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8205" name="Textfeld 8204">
            <a:extLst>
              <a:ext uri="{FF2B5EF4-FFF2-40B4-BE49-F238E27FC236}">
                <a16:creationId xmlns:a16="http://schemas.microsoft.com/office/drawing/2014/main" id="{C5890D49-10CA-D409-5008-82F848D44C2D}"/>
              </a:ext>
            </a:extLst>
          </p:cNvPr>
          <p:cNvSpPr txBox="1"/>
          <p:nvPr/>
        </p:nvSpPr>
        <p:spPr>
          <a:xfrm>
            <a:off x="369799" y="5052467"/>
            <a:ext cx="10245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>
                <a:solidFill>
                  <a:schemeClr val="bg2">
                    <a:lumMod val="50000"/>
                  </a:schemeClr>
                </a:solidFill>
              </a:rPr>
              <a:t>THE SUITES</a:t>
            </a:r>
          </a:p>
        </p:txBody>
      </p:sp>
      <p:sp>
        <p:nvSpPr>
          <p:cNvPr id="8207" name="Textfeld 8206">
            <a:extLst>
              <a:ext uri="{FF2B5EF4-FFF2-40B4-BE49-F238E27FC236}">
                <a16:creationId xmlns:a16="http://schemas.microsoft.com/office/drawing/2014/main" id="{83FCE713-6FBD-87D0-E275-D99B307DA2D7}"/>
              </a:ext>
            </a:extLst>
          </p:cNvPr>
          <p:cNvSpPr txBox="1"/>
          <p:nvPr/>
        </p:nvSpPr>
        <p:spPr>
          <a:xfrm>
            <a:off x="1437322" y="5053067"/>
            <a:ext cx="67530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Comprehensive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integration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of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 (Gen)AI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features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, Use Cases and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functionalities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across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processes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 in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scope</a:t>
            </a:r>
            <a:endParaRPr lang="de-DE" sz="120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8211" name="Gerader Verbinder 8210">
            <a:extLst>
              <a:ext uri="{FF2B5EF4-FFF2-40B4-BE49-F238E27FC236}">
                <a16:creationId xmlns:a16="http://schemas.microsoft.com/office/drawing/2014/main" id="{8A8EB4C3-635B-939F-0267-3C346C5E17B8}"/>
              </a:ext>
            </a:extLst>
          </p:cNvPr>
          <p:cNvCxnSpPr/>
          <p:nvPr/>
        </p:nvCxnSpPr>
        <p:spPr>
          <a:xfrm>
            <a:off x="1383621" y="5085252"/>
            <a:ext cx="0" cy="21262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15" name="Rechteck 8214">
            <a:extLst>
              <a:ext uri="{FF2B5EF4-FFF2-40B4-BE49-F238E27FC236}">
                <a16:creationId xmlns:a16="http://schemas.microsoft.com/office/drawing/2014/main" id="{86EBAC4D-A894-E610-CDE9-357D6A01F76D}"/>
              </a:ext>
            </a:extLst>
          </p:cNvPr>
          <p:cNvSpPr/>
          <p:nvPr/>
        </p:nvSpPr>
        <p:spPr>
          <a:xfrm>
            <a:off x="234446" y="3129574"/>
            <a:ext cx="11544300" cy="1720736"/>
          </a:xfrm>
          <a:prstGeom prst="rect">
            <a:avLst/>
          </a:prstGeom>
          <a:solidFill>
            <a:srgbClr val="F0D6FE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8217" name="Rechteck 8216">
            <a:extLst>
              <a:ext uri="{FF2B5EF4-FFF2-40B4-BE49-F238E27FC236}">
                <a16:creationId xmlns:a16="http://schemas.microsoft.com/office/drawing/2014/main" id="{57E88000-4888-9419-B0C5-90B871918963}"/>
              </a:ext>
            </a:extLst>
          </p:cNvPr>
          <p:cNvSpPr/>
          <p:nvPr/>
        </p:nvSpPr>
        <p:spPr>
          <a:xfrm>
            <a:off x="369799" y="4413238"/>
            <a:ext cx="11273692" cy="30001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8219" name="Textfeld 8218">
            <a:extLst>
              <a:ext uri="{FF2B5EF4-FFF2-40B4-BE49-F238E27FC236}">
                <a16:creationId xmlns:a16="http://schemas.microsoft.com/office/drawing/2014/main" id="{8524738E-5AAE-416F-B3A5-6BE195EB71F3}"/>
              </a:ext>
            </a:extLst>
          </p:cNvPr>
          <p:cNvSpPr txBox="1"/>
          <p:nvPr/>
        </p:nvSpPr>
        <p:spPr>
          <a:xfrm>
            <a:off x="369799" y="4413238"/>
            <a:ext cx="16129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>
                <a:solidFill>
                  <a:schemeClr val="bg2">
                    <a:lumMod val="50000"/>
                  </a:schemeClr>
                </a:solidFill>
              </a:rPr>
              <a:t>USE CASE ENABLER</a:t>
            </a:r>
          </a:p>
        </p:txBody>
      </p:sp>
      <p:sp>
        <p:nvSpPr>
          <p:cNvPr id="8221" name="Textfeld 8220">
            <a:extLst>
              <a:ext uri="{FF2B5EF4-FFF2-40B4-BE49-F238E27FC236}">
                <a16:creationId xmlns:a16="http://schemas.microsoft.com/office/drawing/2014/main" id="{B3EA9793-F669-74AC-628D-D02CA8C48D57}"/>
              </a:ext>
            </a:extLst>
          </p:cNvPr>
          <p:cNvSpPr txBox="1"/>
          <p:nvPr/>
        </p:nvSpPr>
        <p:spPr>
          <a:xfrm>
            <a:off x="2037397" y="4413838"/>
            <a:ext cx="6186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Specialized Software for Procurement,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either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purely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 (Gen)AI-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driven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or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including</a:t>
            </a:r>
            <a:r>
              <a:rPr lang="de-DE" sz="1200">
                <a:solidFill>
                  <a:schemeClr val="bg2">
                    <a:lumMod val="50000"/>
                  </a:schemeClr>
                </a:solidFill>
              </a:rPr>
              <a:t> (Gen)AI </a:t>
            </a:r>
            <a:r>
              <a:rPr lang="de-DE" sz="1200" err="1">
                <a:solidFill>
                  <a:schemeClr val="bg2">
                    <a:lumMod val="50000"/>
                  </a:schemeClr>
                </a:solidFill>
              </a:rPr>
              <a:t>features</a:t>
            </a:r>
            <a:endParaRPr lang="de-DE" sz="120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8222" name="Gerader Verbinder 8221">
            <a:extLst>
              <a:ext uri="{FF2B5EF4-FFF2-40B4-BE49-F238E27FC236}">
                <a16:creationId xmlns:a16="http://schemas.microsoft.com/office/drawing/2014/main" id="{B3C814C6-6498-4476-B95E-DEED3E64A079}"/>
              </a:ext>
            </a:extLst>
          </p:cNvPr>
          <p:cNvCxnSpPr/>
          <p:nvPr/>
        </p:nvCxnSpPr>
        <p:spPr>
          <a:xfrm>
            <a:off x="1983696" y="4446023"/>
            <a:ext cx="0" cy="21262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225" name="Picture 26" descr="AI+MUNICH - For Startups">
            <a:extLst>
              <a:ext uri="{FF2B5EF4-FFF2-40B4-BE49-F238E27FC236}">
                <a16:creationId xmlns:a16="http://schemas.microsoft.com/office/drawing/2014/main" id="{C2752FF6-56F3-3E36-5F28-831DA5409C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117" y="3645522"/>
            <a:ext cx="793517" cy="258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27" name="Picture 28">
            <a:extLst>
              <a:ext uri="{FF2B5EF4-FFF2-40B4-BE49-F238E27FC236}">
                <a16:creationId xmlns:a16="http://schemas.microsoft.com/office/drawing/2014/main" id="{5550631D-E880-1377-2CD4-7A498A1794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45" b="26048"/>
          <a:stretch/>
        </p:blipFill>
        <p:spPr bwMode="auto">
          <a:xfrm>
            <a:off x="413254" y="3313529"/>
            <a:ext cx="1212878" cy="314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28" name="Picture 30" descr="Media Kit | Sievo">
            <a:extLst>
              <a:ext uri="{FF2B5EF4-FFF2-40B4-BE49-F238E27FC236}">
                <a16:creationId xmlns:a16="http://schemas.microsoft.com/office/drawing/2014/main" id="{B4DBE7B6-5E6D-DDD5-213D-7ABD95CFC4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742" y="3993258"/>
            <a:ext cx="750042" cy="300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31" name="Picture 32" descr="riskmethods | Bayern Kapital">
            <a:extLst>
              <a:ext uri="{FF2B5EF4-FFF2-40B4-BE49-F238E27FC236}">
                <a16:creationId xmlns:a16="http://schemas.microsoft.com/office/drawing/2014/main" id="{33BD0CE5-8FF3-080B-F839-0730301468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60" b="23006"/>
          <a:stretch/>
        </p:blipFill>
        <p:spPr bwMode="auto">
          <a:xfrm>
            <a:off x="4153317" y="3966915"/>
            <a:ext cx="1103634" cy="300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 descr="Globale, zuverlässige, umsetzbare Nachhaltigkeitslösungen für Unternehmen |  EcoVadis">
            <a:extLst>
              <a:ext uri="{FF2B5EF4-FFF2-40B4-BE49-F238E27FC236}">
                <a16:creationId xmlns:a16="http://schemas.microsoft.com/office/drawing/2014/main" id="{A508174F-7942-7C32-1E13-5013BC9DA1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2910" y="3384441"/>
            <a:ext cx="962025" cy="172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Icertis Logo PNG Vector (PDF) Free Download">
            <a:extLst>
              <a:ext uri="{FF2B5EF4-FFF2-40B4-BE49-F238E27FC236}">
                <a16:creationId xmlns:a16="http://schemas.microsoft.com/office/drawing/2014/main" id="{16AEBF34-3643-4429-8371-AD00102010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3954" y="3275913"/>
            <a:ext cx="913251" cy="270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 descr="SCOUTBEE | A smarter supplier discovery. | HV Capital">
            <a:extLst>
              <a:ext uri="{FF2B5EF4-FFF2-40B4-BE49-F238E27FC236}">
                <a16:creationId xmlns:a16="http://schemas.microsoft.com/office/drawing/2014/main" id="{80E4B50F-7860-A829-8491-7CD0801717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36" b="22540"/>
          <a:stretch/>
        </p:blipFill>
        <p:spPr bwMode="auto">
          <a:xfrm>
            <a:off x="1583813" y="3598846"/>
            <a:ext cx="1257170" cy="340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2" name="Picture 8" descr="Sirionlabs Integration | Contract Management Software | Fluxym">
            <a:extLst>
              <a:ext uri="{FF2B5EF4-FFF2-40B4-BE49-F238E27FC236}">
                <a16:creationId xmlns:a16="http://schemas.microsoft.com/office/drawing/2014/main" id="{9FC98DE7-A0BD-A5FA-E456-940D770D14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8695" y="3895805"/>
            <a:ext cx="872688" cy="27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4" name="Picture 10" descr="Keelvar | SOURCE">
            <a:extLst>
              <a:ext uri="{FF2B5EF4-FFF2-40B4-BE49-F238E27FC236}">
                <a16:creationId xmlns:a16="http://schemas.microsoft.com/office/drawing/2014/main" id="{8C22E56B-A631-4AE7-837C-FDC6DBF376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85" b="35443"/>
          <a:stretch/>
        </p:blipFill>
        <p:spPr bwMode="auto">
          <a:xfrm>
            <a:off x="413254" y="3966915"/>
            <a:ext cx="789745" cy="189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6" name="Picture 12" descr="AppZen - StrategicCFO360">
            <a:extLst>
              <a:ext uri="{FF2B5EF4-FFF2-40B4-BE49-F238E27FC236}">
                <a16:creationId xmlns:a16="http://schemas.microsoft.com/office/drawing/2014/main" id="{FC638A85-47A2-B1E5-11CE-4241A4C41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4944" y="3808201"/>
            <a:ext cx="1010148" cy="261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32" name="Textfeld 8231">
            <a:extLst>
              <a:ext uri="{FF2B5EF4-FFF2-40B4-BE49-F238E27FC236}">
                <a16:creationId xmlns:a16="http://schemas.microsoft.com/office/drawing/2014/main" id="{DA098EB8-BBFA-A98D-04C8-4D1639C5BA04}"/>
              </a:ext>
            </a:extLst>
          </p:cNvPr>
          <p:cNvSpPr txBox="1"/>
          <p:nvPr/>
        </p:nvSpPr>
        <p:spPr>
          <a:xfrm>
            <a:off x="9789692" y="2891916"/>
            <a:ext cx="13722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FRAUD DETECTION</a:t>
            </a:r>
          </a:p>
        </p:txBody>
      </p:sp>
      <p:sp>
        <p:nvSpPr>
          <p:cNvPr id="8244" name="Freihandform: Form 8243">
            <a:extLst>
              <a:ext uri="{FF2B5EF4-FFF2-40B4-BE49-F238E27FC236}">
                <a16:creationId xmlns:a16="http://schemas.microsoft.com/office/drawing/2014/main" id="{3AE276F5-D36F-4E9C-C08B-2027B9D75411}"/>
              </a:ext>
            </a:extLst>
          </p:cNvPr>
          <p:cNvSpPr/>
          <p:nvPr/>
        </p:nvSpPr>
        <p:spPr>
          <a:xfrm>
            <a:off x="1257465" y="1255176"/>
            <a:ext cx="1310870" cy="752475"/>
          </a:xfrm>
          <a:custGeom>
            <a:avLst/>
            <a:gdLst>
              <a:gd name="connsiteX0" fmla="*/ 0 w 1028700"/>
              <a:gd name="connsiteY0" fmla="*/ 752475 h 752475"/>
              <a:gd name="connsiteX1" fmla="*/ 633412 w 1028700"/>
              <a:gd name="connsiteY1" fmla="*/ 509587 h 752475"/>
              <a:gd name="connsiteX2" fmla="*/ 1028700 w 1028700"/>
              <a:gd name="connsiteY2" fmla="*/ 0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28700" h="752475">
                <a:moveTo>
                  <a:pt x="0" y="752475"/>
                </a:moveTo>
                <a:cubicBezTo>
                  <a:pt x="230981" y="693737"/>
                  <a:pt x="461962" y="634999"/>
                  <a:pt x="633412" y="509587"/>
                </a:cubicBezTo>
                <a:cubicBezTo>
                  <a:pt x="804862" y="384175"/>
                  <a:pt x="916781" y="192087"/>
                  <a:pt x="1028700" y="0"/>
                </a:cubicBezTo>
              </a:path>
            </a:pathLst>
          </a:custGeom>
          <a:noFill/>
          <a:ln w="19050">
            <a:solidFill>
              <a:schemeClr val="tx2"/>
            </a:solidFill>
            <a:headEnd type="none" w="med" len="med"/>
            <a:tailEnd type="arrow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239" name="Ellipse 8238">
            <a:extLst>
              <a:ext uri="{FF2B5EF4-FFF2-40B4-BE49-F238E27FC236}">
                <a16:creationId xmlns:a16="http://schemas.microsoft.com/office/drawing/2014/main" id="{FA05A2F2-A413-9E7A-9260-0D75AA0510B8}"/>
              </a:ext>
            </a:extLst>
          </p:cNvPr>
          <p:cNvSpPr/>
          <p:nvPr/>
        </p:nvSpPr>
        <p:spPr>
          <a:xfrm>
            <a:off x="2396170" y="1399392"/>
            <a:ext cx="72000" cy="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8242" name="Textfeld 8241">
            <a:extLst>
              <a:ext uri="{FF2B5EF4-FFF2-40B4-BE49-F238E27FC236}">
                <a16:creationId xmlns:a16="http://schemas.microsoft.com/office/drawing/2014/main" id="{A4B1D5D4-111C-258C-3A9B-571B3CC781C4}"/>
              </a:ext>
            </a:extLst>
          </p:cNvPr>
          <p:cNvSpPr txBox="1"/>
          <p:nvPr/>
        </p:nvSpPr>
        <p:spPr>
          <a:xfrm>
            <a:off x="1821148" y="1202353"/>
            <a:ext cx="6303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/>
              <a:t>$430M</a:t>
            </a:r>
          </a:p>
        </p:txBody>
      </p:sp>
      <p:sp>
        <p:nvSpPr>
          <p:cNvPr id="8238" name="Ellipse 8237">
            <a:extLst>
              <a:ext uri="{FF2B5EF4-FFF2-40B4-BE49-F238E27FC236}">
                <a16:creationId xmlns:a16="http://schemas.microsoft.com/office/drawing/2014/main" id="{466E9708-1152-E5B0-DB2C-0B740C032E3B}"/>
              </a:ext>
            </a:extLst>
          </p:cNvPr>
          <p:cNvSpPr/>
          <p:nvPr/>
        </p:nvSpPr>
        <p:spPr>
          <a:xfrm>
            <a:off x="2012516" y="1735207"/>
            <a:ext cx="72000" cy="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8241" name="Textfeld 8240">
            <a:extLst>
              <a:ext uri="{FF2B5EF4-FFF2-40B4-BE49-F238E27FC236}">
                <a16:creationId xmlns:a16="http://schemas.microsoft.com/office/drawing/2014/main" id="{AB342883-C84A-545B-C33F-CCB3D1DFD113}"/>
              </a:ext>
            </a:extLst>
          </p:cNvPr>
          <p:cNvSpPr txBox="1"/>
          <p:nvPr/>
        </p:nvSpPr>
        <p:spPr>
          <a:xfrm>
            <a:off x="1501474" y="1512452"/>
            <a:ext cx="6335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/>
              <a:t>$160M</a:t>
            </a:r>
          </a:p>
        </p:txBody>
      </p:sp>
      <p:sp>
        <p:nvSpPr>
          <p:cNvPr id="8237" name="Ellipse 8236">
            <a:extLst>
              <a:ext uri="{FF2B5EF4-FFF2-40B4-BE49-F238E27FC236}">
                <a16:creationId xmlns:a16="http://schemas.microsoft.com/office/drawing/2014/main" id="{757A36CD-7D82-AD04-1F27-873346B101E9}"/>
              </a:ext>
            </a:extLst>
          </p:cNvPr>
          <p:cNvSpPr/>
          <p:nvPr/>
        </p:nvSpPr>
        <p:spPr>
          <a:xfrm>
            <a:off x="1561117" y="1891941"/>
            <a:ext cx="72000" cy="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8240" name="Textfeld 8239">
            <a:extLst>
              <a:ext uri="{FF2B5EF4-FFF2-40B4-BE49-F238E27FC236}">
                <a16:creationId xmlns:a16="http://schemas.microsoft.com/office/drawing/2014/main" id="{ECD729AE-B890-AB64-17A5-46E299F7EB5E}"/>
              </a:ext>
            </a:extLst>
          </p:cNvPr>
          <p:cNvSpPr txBox="1"/>
          <p:nvPr/>
        </p:nvSpPr>
        <p:spPr>
          <a:xfrm>
            <a:off x="1033616" y="1675739"/>
            <a:ext cx="6303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/>
              <a:t>$120M</a:t>
            </a:r>
          </a:p>
        </p:txBody>
      </p:sp>
      <p:sp>
        <p:nvSpPr>
          <p:cNvPr id="8245" name="Textfeld 8244">
            <a:extLst>
              <a:ext uri="{FF2B5EF4-FFF2-40B4-BE49-F238E27FC236}">
                <a16:creationId xmlns:a16="http://schemas.microsoft.com/office/drawing/2014/main" id="{FA158E33-FE6F-3303-5D32-5E12AC1463C6}"/>
              </a:ext>
            </a:extLst>
          </p:cNvPr>
          <p:cNvSpPr txBox="1"/>
          <p:nvPr/>
        </p:nvSpPr>
        <p:spPr>
          <a:xfrm>
            <a:off x="1633116" y="1876001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>
                <a:solidFill>
                  <a:schemeClr val="tx2"/>
                </a:solidFill>
              </a:rPr>
              <a:t>2023</a:t>
            </a:r>
          </a:p>
        </p:txBody>
      </p:sp>
      <p:sp>
        <p:nvSpPr>
          <p:cNvPr id="8246" name="Textfeld 8245">
            <a:extLst>
              <a:ext uri="{FF2B5EF4-FFF2-40B4-BE49-F238E27FC236}">
                <a16:creationId xmlns:a16="http://schemas.microsoft.com/office/drawing/2014/main" id="{903D5E19-D792-8A55-4BFD-3C2013394028}"/>
              </a:ext>
            </a:extLst>
          </p:cNvPr>
          <p:cNvSpPr txBox="1"/>
          <p:nvPr/>
        </p:nvSpPr>
        <p:spPr>
          <a:xfrm>
            <a:off x="2080749" y="1694427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>
                <a:solidFill>
                  <a:schemeClr val="tx2"/>
                </a:solidFill>
              </a:rPr>
              <a:t>2024</a:t>
            </a:r>
          </a:p>
        </p:txBody>
      </p:sp>
      <p:sp>
        <p:nvSpPr>
          <p:cNvPr id="8247" name="Textfeld 8246">
            <a:extLst>
              <a:ext uri="{FF2B5EF4-FFF2-40B4-BE49-F238E27FC236}">
                <a16:creationId xmlns:a16="http://schemas.microsoft.com/office/drawing/2014/main" id="{F571C522-C924-1C3B-86CF-7A230A43635A}"/>
              </a:ext>
            </a:extLst>
          </p:cNvPr>
          <p:cNvSpPr txBox="1"/>
          <p:nvPr/>
        </p:nvSpPr>
        <p:spPr>
          <a:xfrm>
            <a:off x="2448815" y="1341250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>
                <a:solidFill>
                  <a:schemeClr val="tx2"/>
                </a:solidFill>
              </a:rPr>
              <a:t>2028</a:t>
            </a:r>
          </a:p>
        </p:txBody>
      </p:sp>
      <p:sp>
        <p:nvSpPr>
          <p:cNvPr id="8248" name="Textfeld 8247">
            <a:extLst>
              <a:ext uri="{FF2B5EF4-FFF2-40B4-BE49-F238E27FC236}">
                <a16:creationId xmlns:a16="http://schemas.microsoft.com/office/drawing/2014/main" id="{1EE7DB6A-5EA0-3534-8C6D-9F5EB0FE9CE7}"/>
              </a:ext>
            </a:extLst>
          </p:cNvPr>
          <p:cNvSpPr txBox="1"/>
          <p:nvPr/>
        </p:nvSpPr>
        <p:spPr>
          <a:xfrm>
            <a:off x="3117273" y="1411519"/>
            <a:ext cx="91132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err="1"/>
              <a:t>GenAI</a:t>
            </a:r>
            <a:r>
              <a:rPr lang="de-DE" sz="1600"/>
              <a:t> in </a:t>
            </a:r>
            <a:r>
              <a:rPr lang="de-DE" sz="1600" err="1"/>
              <a:t>procurement</a:t>
            </a:r>
            <a:r>
              <a:rPr lang="de-DE" sz="1600"/>
              <a:t> </a:t>
            </a:r>
            <a:r>
              <a:rPr lang="de-DE" sz="1600" err="1"/>
              <a:t>market</a:t>
            </a:r>
            <a:r>
              <a:rPr lang="de-DE" sz="1600"/>
              <a:t> </a:t>
            </a:r>
            <a:r>
              <a:rPr lang="de-DE" sz="1600" err="1"/>
              <a:t>size</a:t>
            </a:r>
            <a:r>
              <a:rPr lang="de-DE" sz="1600"/>
              <a:t> </a:t>
            </a:r>
            <a:r>
              <a:rPr lang="de-DE" sz="1600" err="1"/>
              <a:t>has</a:t>
            </a:r>
            <a:r>
              <a:rPr lang="de-DE" sz="1600"/>
              <a:t> </a:t>
            </a:r>
            <a:r>
              <a:rPr lang="de-DE" sz="1600" err="1"/>
              <a:t>grown</a:t>
            </a:r>
            <a:r>
              <a:rPr lang="de-DE" sz="1600"/>
              <a:t> </a:t>
            </a:r>
            <a:r>
              <a:rPr lang="de-DE" sz="1600" err="1"/>
              <a:t>exceptionally</a:t>
            </a:r>
            <a:r>
              <a:rPr lang="de-DE" sz="1600"/>
              <a:t> in </a:t>
            </a:r>
            <a:r>
              <a:rPr lang="de-DE" sz="1600" err="1"/>
              <a:t>recent</a:t>
            </a:r>
            <a:r>
              <a:rPr lang="de-DE" sz="1600"/>
              <a:t> </a:t>
            </a:r>
            <a:r>
              <a:rPr lang="de-DE" sz="1600" err="1"/>
              <a:t>years</a:t>
            </a:r>
            <a:r>
              <a:rPr lang="de-DE" sz="1600"/>
              <a:t> </a:t>
            </a:r>
            <a:r>
              <a:rPr lang="de-DE" sz="1600" err="1"/>
              <a:t>with</a:t>
            </a:r>
            <a:r>
              <a:rPr lang="de-DE" sz="1600"/>
              <a:t> </a:t>
            </a:r>
            <a:r>
              <a:rPr lang="de-DE" sz="1600" err="1"/>
              <a:t>already</a:t>
            </a:r>
            <a:r>
              <a:rPr lang="de-DE" sz="1600"/>
              <a:t> </a:t>
            </a:r>
            <a:r>
              <a:rPr lang="de-DE" sz="1600" err="1"/>
              <a:t>showing</a:t>
            </a:r>
            <a:r>
              <a:rPr lang="de-DE" sz="1600"/>
              <a:t> a </a:t>
            </a:r>
          </a:p>
          <a:p>
            <a:r>
              <a:rPr lang="de-DE" sz="1600" b="1"/>
              <a:t>compound annual </a:t>
            </a:r>
            <a:r>
              <a:rPr lang="de-DE" sz="1600" b="1" err="1"/>
              <a:t>growth</a:t>
            </a:r>
            <a:r>
              <a:rPr lang="de-DE" sz="1600" b="1"/>
              <a:t> rate </a:t>
            </a:r>
            <a:r>
              <a:rPr lang="de-DE" sz="1600" b="1" err="1"/>
              <a:t>of</a:t>
            </a:r>
            <a:r>
              <a:rPr lang="de-DE" sz="1600" b="1"/>
              <a:t>  28,7% </a:t>
            </a:r>
            <a:r>
              <a:rPr lang="de-DE" sz="1600" err="1"/>
              <a:t>compared</a:t>
            </a:r>
            <a:r>
              <a:rPr lang="de-DE" sz="1600"/>
              <a:t> to 2023</a:t>
            </a:r>
          </a:p>
        </p:txBody>
      </p:sp>
      <p:pic>
        <p:nvPicPr>
          <p:cNvPr id="11280" name="Picture 16">
            <a:extLst>
              <a:ext uri="{FF2B5EF4-FFF2-40B4-BE49-F238E27FC236}">
                <a16:creationId xmlns:a16="http://schemas.microsoft.com/office/drawing/2014/main" id="{FC66FA6A-B693-F91F-7F11-B8C64DE2BF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5648" y="3648959"/>
            <a:ext cx="949158" cy="189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49" name="Grafik 8248">
            <a:extLst>
              <a:ext uri="{FF2B5EF4-FFF2-40B4-BE49-F238E27FC236}">
                <a16:creationId xmlns:a16="http://schemas.microsoft.com/office/drawing/2014/main" id="{01546D91-D648-6D67-FF96-B8121E18C345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380670" y="3354228"/>
            <a:ext cx="935725" cy="401482"/>
          </a:xfrm>
          <a:prstGeom prst="rect">
            <a:avLst/>
          </a:prstGeom>
        </p:spPr>
      </p:pic>
      <p:pic>
        <p:nvPicPr>
          <p:cNvPr id="8250" name="Grafik 8249">
            <a:extLst>
              <a:ext uri="{FF2B5EF4-FFF2-40B4-BE49-F238E27FC236}">
                <a16:creationId xmlns:a16="http://schemas.microsoft.com/office/drawing/2014/main" id="{C54DB430-C2D5-F071-FED6-A1F8C372B6C6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936748" y="3871666"/>
            <a:ext cx="958992" cy="320482"/>
          </a:xfrm>
          <a:prstGeom prst="rect">
            <a:avLst/>
          </a:prstGeom>
        </p:spPr>
      </p:pic>
      <p:pic>
        <p:nvPicPr>
          <p:cNvPr id="4098" name="Picture 2" descr="BLP Digital » Verband elektronische Rechnung (VeR)">
            <a:extLst>
              <a:ext uri="{FF2B5EF4-FFF2-40B4-BE49-F238E27FC236}">
                <a16:creationId xmlns:a16="http://schemas.microsoft.com/office/drawing/2014/main" id="{FCFAD3D8-6AF8-9D82-462B-BCFE326047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8531" y="4013098"/>
            <a:ext cx="750042" cy="252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Rossum » Verband elektronische Rechnung (VeR)">
            <a:extLst>
              <a:ext uri="{FF2B5EF4-FFF2-40B4-BE49-F238E27FC236}">
                <a16:creationId xmlns:a16="http://schemas.microsoft.com/office/drawing/2014/main" id="{78A6FA09-2883-B09D-3DA3-45FA99F4C3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6297" y="3352786"/>
            <a:ext cx="684276" cy="181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Procure Ai | ProcureCon">
            <a:extLst>
              <a:ext uri="{FF2B5EF4-FFF2-40B4-BE49-F238E27FC236}">
                <a16:creationId xmlns:a16="http://schemas.microsoft.com/office/drawing/2014/main" id="{A983B628-5D13-9DE8-A25E-252D0886D7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4689" y="3285608"/>
            <a:ext cx="958992" cy="328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Zip Brings Procurement Orchestration to the Mainstream in 2024, Delivering  Transformative Results for Global Leaders like HP, AMD, and Anthropic">
            <a:extLst>
              <a:ext uri="{FF2B5EF4-FFF2-40B4-BE49-F238E27FC236}">
                <a16:creationId xmlns:a16="http://schemas.microsoft.com/office/drawing/2014/main" id="{866DE74D-9F82-B3EB-0EFE-7A4997CA68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1977" y="5517470"/>
            <a:ext cx="482519" cy="31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Smart procurement workflows">
            <a:extLst>
              <a:ext uri="{FF2B5EF4-FFF2-40B4-BE49-F238E27FC236}">
                <a16:creationId xmlns:a16="http://schemas.microsoft.com/office/drawing/2014/main" id="{FB827048-7F19-12F7-B8B7-AE1E49A7C2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9731" y="5987267"/>
            <a:ext cx="714433" cy="307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39538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31572D6-6A17-1021-F966-1AF28CAA35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Our view on value-driven use cases in procuremen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9D9CB18-CABB-E2F3-56A9-FDC95BA9D17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509481"/>
            <a:ext cx="10944225" cy="369334"/>
          </a:xfrm>
        </p:spPr>
        <p:txBody>
          <a:bodyPr/>
          <a:lstStyle/>
          <a:p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What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are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the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Use Cases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showing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most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Potential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for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Procurement?</a:t>
            </a:r>
          </a:p>
        </p:txBody>
      </p:sp>
      <p:sp>
        <p:nvSpPr>
          <p:cNvPr id="4" name="Pfeil: Fünfeck 3">
            <a:extLst>
              <a:ext uri="{FF2B5EF4-FFF2-40B4-BE49-F238E27FC236}">
                <a16:creationId xmlns:a16="http://schemas.microsoft.com/office/drawing/2014/main" id="{3B683481-0EA4-0B39-A633-3CFB222D4046}"/>
              </a:ext>
            </a:extLst>
          </p:cNvPr>
          <p:cNvSpPr/>
          <p:nvPr/>
        </p:nvSpPr>
        <p:spPr>
          <a:xfrm>
            <a:off x="0" y="2590800"/>
            <a:ext cx="6096000" cy="238125"/>
          </a:xfrm>
          <a:prstGeom prst="homePlate">
            <a:avLst/>
          </a:prstGeom>
          <a:gradFill flip="none" rotWithShape="1">
            <a:gsLst>
              <a:gs pos="30000">
                <a:schemeClr val="bg2"/>
              </a:gs>
              <a:gs pos="100000">
                <a:schemeClr val="tx2"/>
              </a:gs>
            </a:gsLst>
            <a:lin ang="10800000" scaled="1"/>
            <a:tileRect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>
                <a:solidFill>
                  <a:schemeClr val="bg1"/>
                </a:solidFill>
              </a:rPr>
              <a:t>SOURCE-TO-CONTRACT</a:t>
            </a:r>
          </a:p>
        </p:txBody>
      </p:sp>
      <p:sp>
        <p:nvSpPr>
          <p:cNvPr id="5" name="Pfeil: Chevron 4">
            <a:extLst>
              <a:ext uri="{FF2B5EF4-FFF2-40B4-BE49-F238E27FC236}">
                <a16:creationId xmlns:a16="http://schemas.microsoft.com/office/drawing/2014/main" id="{2CB0CCEE-1A23-DCAA-769A-547CF31FED6D}"/>
              </a:ext>
            </a:extLst>
          </p:cNvPr>
          <p:cNvSpPr/>
          <p:nvPr/>
        </p:nvSpPr>
        <p:spPr>
          <a:xfrm>
            <a:off x="6096000" y="2590800"/>
            <a:ext cx="6096000" cy="238125"/>
          </a:xfrm>
          <a:prstGeom prst="chevron">
            <a:avLst/>
          </a:prstGeom>
          <a:gradFill flip="none" rotWithShape="1">
            <a:gsLst>
              <a:gs pos="30000">
                <a:schemeClr val="bg2"/>
              </a:gs>
              <a:gs pos="100000">
                <a:schemeClr val="tx2"/>
              </a:gs>
            </a:gsLst>
            <a:lin ang="0" scaled="1"/>
            <a:tileRect/>
          </a:gra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>
                <a:solidFill>
                  <a:schemeClr val="bg1"/>
                </a:solidFill>
              </a:rPr>
              <a:t>PROCURE-TO-PAY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FC4E11E-30E5-789C-C652-19E3D0BA3413}"/>
              </a:ext>
            </a:extLst>
          </p:cNvPr>
          <p:cNvSpPr txBox="1"/>
          <p:nvPr/>
        </p:nvSpPr>
        <p:spPr>
          <a:xfrm>
            <a:off x="413900" y="2906627"/>
            <a:ext cx="8927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STRATEGIC </a:t>
            </a:r>
          </a:p>
          <a:p>
            <a:pPr algn="ctr"/>
            <a:r>
              <a:rPr lang="de-DE" sz="1200"/>
              <a:t>SOURCING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8174F94-977C-34F4-9F20-53634D8340D9}"/>
              </a:ext>
            </a:extLst>
          </p:cNvPr>
          <p:cNvSpPr txBox="1"/>
          <p:nvPr/>
        </p:nvSpPr>
        <p:spPr>
          <a:xfrm>
            <a:off x="1516984" y="2906627"/>
            <a:ext cx="11485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SUPPLIER</a:t>
            </a:r>
          </a:p>
          <a:p>
            <a:pPr algn="ctr"/>
            <a:r>
              <a:rPr lang="de-DE" sz="1200"/>
              <a:t>MANAGEMEN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7834D6D-5D65-7089-9181-DE7133ED2E2C}"/>
              </a:ext>
            </a:extLst>
          </p:cNvPr>
          <p:cNvSpPr txBox="1"/>
          <p:nvPr/>
        </p:nvSpPr>
        <p:spPr>
          <a:xfrm>
            <a:off x="2875843" y="2906627"/>
            <a:ext cx="11485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CONTRACT </a:t>
            </a:r>
          </a:p>
          <a:p>
            <a:pPr algn="ctr"/>
            <a:r>
              <a:rPr lang="de-DE" sz="1200"/>
              <a:t>MANAGEMEN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4007195-9DC7-8AF0-AA8B-4C952D2E86DC}"/>
              </a:ext>
            </a:extLst>
          </p:cNvPr>
          <p:cNvSpPr txBox="1"/>
          <p:nvPr/>
        </p:nvSpPr>
        <p:spPr>
          <a:xfrm>
            <a:off x="5593561" y="2906627"/>
            <a:ext cx="10200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PURCHASING</a:t>
            </a:r>
          </a:p>
          <a:p>
            <a:pPr algn="ctr"/>
            <a:r>
              <a:rPr lang="de-DE" sz="1200"/>
              <a:t>ANALYTIC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EE925A6-779E-331E-914E-F9E9509D740E}"/>
              </a:ext>
            </a:extLst>
          </p:cNvPr>
          <p:cNvSpPr txBox="1"/>
          <p:nvPr/>
        </p:nvSpPr>
        <p:spPr>
          <a:xfrm>
            <a:off x="8214200" y="2906627"/>
            <a:ext cx="11485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ORDER </a:t>
            </a:r>
          </a:p>
          <a:p>
            <a:pPr algn="ctr"/>
            <a:r>
              <a:rPr lang="de-DE" sz="1200"/>
              <a:t>MANAGEMEN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EA6C034-581E-72C0-F802-08B41F7B76E4}"/>
              </a:ext>
            </a:extLst>
          </p:cNvPr>
          <p:cNvSpPr txBox="1"/>
          <p:nvPr/>
        </p:nvSpPr>
        <p:spPr>
          <a:xfrm>
            <a:off x="9573059" y="2998960"/>
            <a:ext cx="8654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INVOICING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6FCD2F2-D983-2499-A69C-1F0A17D1D14A}"/>
              </a:ext>
            </a:extLst>
          </p:cNvPr>
          <p:cNvSpPr txBox="1"/>
          <p:nvPr/>
        </p:nvSpPr>
        <p:spPr>
          <a:xfrm>
            <a:off x="10648892" y="2998960"/>
            <a:ext cx="788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PAYMEN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32E26F6-8BE0-FE99-1C58-40B921AF69D9}"/>
              </a:ext>
            </a:extLst>
          </p:cNvPr>
          <p:cNvSpPr txBox="1"/>
          <p:nvPr/>
        </p:nvSpPr>
        <p:spPr>
          <a:xfrm>
            <a:off x="4234702" y="2906627"/>
            <a:ext cx="11485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RISK</a:t>
            </a:r>
          </a:p>
          <a:p>
            <a:pPr algn="ctr"/>
            <a:r>
              <a:rPr lang="de-DE" sz="1200"/>
              <a:t>MANAGEMENT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931E200-41B8-6AEE-A76C-AEAEB5F7200E}"/>
              </a:ext>
            </a:extLst>
          </p:cNvPr>
          <p:cNvSpPr txBox="1"/>
          <p:nvPr/>
        </p:nvSpPr>
        <p:spPr>
          <a:xfrm>
            <a:off x="6823986" y="2998960"/>
            <a:ext cx="11798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/>
              <a:t>SUSTAINABILITY</a:t>
            </a:r>
          </a:p>
        </p:txBody>
      </p:sp>
      <p:grpSp>
        <p:nvGrpSpPr>
          <p:cNvPr id="148" name="Gruppieren 147">
            <a:extLst>
              <a:ext uri="{FF2B5EF4-FFF2-40B4-BE49-F238E27FC236}">
                <a16:creationId xmlns:a16="http://schemas.microsoft.com/office/drawing/2014/main" id="{AE674122-B304-827B-960E-53438DA28BCE}"/>
              </a:ext>
            </a:extLst>
          </p:cNvPr>
          <p:cNvGrpSpPr/>
          <p:nvPr/>
        </p:nvGrpSpPr>
        <p:grpSpPr>
          <a:xfrm>
            <a:off x="3185565" y="1944452"/>
            <a:ext cx="418704" cy="634125"/>
            <a:chOff x="3185565" y="1944452"/>
            <a:chExt cx="418704" cy="634125"/>
          </a:xfrm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6385BE70-D55F-4AE3-50BB-203C913FCDEB}"/>
                </a:ext>
              </a:extLst>
            </p:cNvPr>
            <p:cNvSpPr/>
            <p:nvPr/>
          </p:nvSpPr>
          <p:spPr>
            <a:xfrm>
              <a:off x="3280725" y="2161502"/>
              <a:ext cx="163538" cy="417075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2E678D2A-8ECD-61E9-D3DC-34130581CCDA}"/>
                </a:ext>
              </a:extLst>
            </p:cNvPr>
            <p:cNvSpPr txBox="1"/>
            <p:nvPr/>
          </p:nvSpPr>
          <p:spPr>
            <a:xfrm>
              <a:off x="3185565" y="1944452"/>
              <a:ext cx="418704" cy="253916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de-DE" sz="1050">
                  <a:solidFill>
                    <a:schemeClr val="tx2"/>
                  </a:solidFill>
                </a:rPr>
                <a:t>25%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F5789B7C-3005-917F-A98E-303C92BAACA3}"/>
              </a:ext>
            </a:extLst>
          </p:cNvPr>
          <p:cNvGrpSpPr/>
          <p:nvPr/>
        </p:nvGrpSpPr>
        <p:grpSpPr>
          <a:xfrm>
            <a:off x="9704295" y="1938164"/>
            <a:ext cx="418704" cy="640415"/>
            <a:chOff x="9704295" y="1938164"/>
            <a:chExt cx="418704" cy="640415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85B6206A-94D6-6C6C-93E2-8CCFA1185810}"/>
                </a:ext>
              </a:extLst>
            </p:cNvPr>
            <p:cNvSpPr/>
            <p:nvPr/>
          </p:nvSpPr>
          <p:spPr>
            <a:xfrm>
              <a:off x="9832020" y="2153945"/>
              <a:ext cx="144000" cy="424634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A937A5EE-AE59-7CD5-6F81-F3D3E7299792}"/>
                </a:ext>
              </a:extLst>
            </p:cNvPr>
            <p:cNvSpPr txBox="1"/>
            <p:nvPr/>
          </p:nvSpPr>
          <p:spPr>
            <a:xfrm>
              <a:off x="9704295" y="1938164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tx2"/>
                  </a:solidFill>
                </a:rPr>
                <a:t>25%</a:t>
              </a:r>
            </a:p>
          </p:txBody>
        </p:sp>
      </p:grpSp>
      <p:grpSp>
        <p:nvGrpSpPr>
          <p:cNvPr id="156" name="Gruppieren 155">
            <a:extLst>
              <a:ext uri="{FF2B5EF4-FFF2-40B4-BE49-F238E27FC236}">
                <a16:creationId xmlns:a16="http://schemas.microsoft.com/office/drawing/2014/main" id="{FE0B7C15-FDC7-BA9B-C9B0-79DAEFF113E9}"/>
              </a:ext>
            </a:extLst>
          </p:cNvPr>
          <p:cNvGrpSpPr/>
          <p:nvPr/>
        </p:nvGrpSpPr>
        <p:grpSpPr>
          <a:xfrm>
            <a:off x="8393569" y="1962055"/>
            <a:ext cx="418704" cy="616524"/>
            <a:chOff x="8393569" y="1962055"/>
            <a:chExt cx="418704" cy="616524"/>
          </a:xfrm>
        </p:grpSpPr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25D4BCD8-8A32-FD7F-8BC7-CDE87DC287FC}"/>
                </a:ext>
              </a:extLst>
            </p:cNvPr>
            <p:cNvSpPr/>
            <p:nvPr/>
          </p:nvSpPr>
          <p:spPr>
            <a:xfrm>
              <a:off x="8533675" y="2180850"/>
              <a:ext cx="144000" cy="397729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4D06AA59-8130-0F23-192B-FEF184AC31C8}"/>
                </a:ext>
              </a:extLst>
            </p:cNvPr>
            <p:cNvSpPr txBox="1"/>
            <p:nvPr/>
          </p:nvSpPr>
          <p:spPr>
            <a:xfrm>
              <a:off x="8393569" y="1962055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tx2"/>
                  </a:solidFill>
                </a:rPr>
                <a:t>24%</a:t>
              </a:r>
            </a:p>
          </p:txBody>
        </p:sp>
      </p:grp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5E18D242-B5F2-FA8C-1217-455621AC0B44}"/>
              </a:ext>
            </a:extLst>
          </p:cNvPr>
          <p:cNvGrpSpPr/>
          <p:nvPr/>
        </p:nvGrpSpPr>
        <p:grpSpPr>
          <a:xfrm>
            <a:off x="10698251" y="1981027"/>
            <a:ext cx="418704" cy="597552"/>
            <a:chOff x="10698251" y="1981027"/>
            <a:chExt cx="418704" cy="597552"/>
          </a:xfrm>
        </p:grpSpPr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15D6A3EC-B432-6C79-DDCF-871BB643E670}"/>
                </a:ext>
              </a:extLst>
            </p:cNvPr>
            <p:cNvSpPr/>
            <p:nvPr/>
          </p:nvSpPr>
          <p:spPr>
            <a:xfrm>
              <a:off x="10825976" y="2201639"/>
              <a:ext cx="144000" cy="37694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2C7C35A8-86C4-1B03-0153-FD846D9AE128}"/>
                </a:ext>
              </a:extLst>
            </p:cNvPr>
            <p:cNvSpPr txBox="1"/>
            <p:nvPr/>
          </p:nvSpPr>
          <p:spPr>
            <a:xfrm>
              <a:off x="10698251" y="1981027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tx2"/>
                  </a:solidFill>
                </a:rPr>
                <a:t>23%</a:t>
              </a:r>
            </a:p>
          </p:txBody>
        </p:sp>
      </p:grp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254A3B1C-CE21-5D84-017A-0272F8E64252}"/>
              </a:ext>
            </a:extLst>
          </p:cNvPr>
          <p:cNvGrpSpPr/>
          <p:nvPr/>
        </p:nvGrpSpPr>
        <p:grpSpPr>
          <a:xfrm>
            <a:off x="5726812" y="1838656"/>
            <a:ext cx="418704" cy="739923"/>
            <a:chOff x="5726812" y="1838656"/>
            <a:chExt cx="418704" cy="739923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BC2D06AA-11D0-49C8-F9C4-6AE8E38F07A4}"/>
                </a:ext>
              </a:extLst>
            </p:cNvPr>
            <p:cNvSpPr/>
            <p:nvPr/>
          </p:nvSpPr>
          <p:spPr>
            <a:xfrm>
              <a:off x="5852706" y="2041605"/>
              <a:ext cx="144000" cy="536974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4078E893-9E56-C9BF-4C98-62F772F87E1E}"/>
                </a:ext>
              </a:extLst>
            </p:cNvPr>
            <p:cNvSpPr txBox="1"/>
            <p:nvPr/>
          </p:nvSpPr>
          <p:spPr>
            <a:xfrm>
              <a:off x="5726812" y="1838656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tx2"/>
                  </a:solidFill>
                </a:rPr>
                <a:t>30%</a:t>
              </a:r>
            </a:p>
          </p:txBody>
        </p:sp>
      </p:grpSp>
      <p:grpSp>
        <p:nvGrpSpPr>
          <p:cNvPr id="150" name="Gruppieren 149">
            <a:extLst>
              <a:ext uri="{FF2B5EF4-FFF2-40B4-BE49-F238E27FC236}">
                <a16:creationId xmlns:a16="http://schemas.microsoft.com/office/drawing/2014/main" id="{82D10A27-BA3A-5897-50F4-30658B058894}"/>
              </a:ext>
            </a:extLst>
          </p:cNvPr>
          <p:cNvGrpSpPr/>
          <p:nvPr/>
        </p:nvGrpSpPr>
        <p:grpSpPr>
          <a:xfrm>
            <a:off x="4490738" y="2069077"/>
            <a:ext cx="418704" cy="509502"/>
            <a:chOff x="4490738" y="2069077"/>
            <a:chExt cx="418704" cy="509502"/>
          </a:xfrm>
        </p:grpSpPr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833BA204-5F0D-E202-ADC7-4919EAB5E15F}"/>
                </a:ext>
              </a:extLst>
            </p:cNvPr>
            <p:cNvSpPr/>
            <p:nvPr/>
          </p:nvSpPr>
          <p:spPr>
            <a:xfrm>
              <a:off x="4611793" y="2274698"/>
              <a:ext cx="144000" cy="303881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D1E835D7-89B7-49E5-3C45-E0DFFFA15119}"/>
                </a:ext>
              </a:extLst>
            </p:cNvPr>
            <p:cNvSpPr txBox="1"/>
            <p:nvPr/>
          </p:nvSpPr>
          <p:spPr>
            <a:xfrm>
              <a:off x="4490738" y="2069077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tx2"/>
                  </a:solidFill>
                </a:rPr>
                <a:t>15%</a:t>
              </a:r>
            </a:p>
          </p:txBody>
        </p:sp>
      </p:grpSp>
      <p:grpSp>
        <p:nvGrpSpPr>
          <p:cNvPr id="144" name="Gruppieren 143">
            <a:extLst>
              <a:ext uri="{FF2B5EF4-FFF2-40B4-BE49-F238E27FC236}">
                <a16:creationId xmlns:a16="http://schemas.microsoft.com/office/drawing/2014/main" id="{AAF89CC9-4391-F3DE-5004-024F45EB9B30}"/>
              </a:ext>
            </a:extLst>
          </p:cNvPr>
          <p:cNvGrpSpPr/>
          <p:nvPr/>
        </p:nvGrpSpPr>
        <p:grpSpPr>
          <a:xfrm>
            <a:off x="531417" y="1901444"/>
            <a:ext cx="418704" cy="677134"/>
            <a:chOff x="531417" y="1901444"/>
            <a:chExt cx="418704" cy="677134"/>
          </a:xfrm>
        </p:grpSpPr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7A0F1A97-651D-25C8-F6A2-6FCBDFF761E6}"/>
                </a:ext>
              </a:extLst>
            </p:cNvPr>
            <p:cNvSpPr/>
            <p:nvPr/>
          </p:nvSpPr>
          <p:spPr>
            <a:xfrm>
              <a:off x="629922" y="2137183"/>
              <a:ext cx="124461" cy="441395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>
                <a:solidFill>
                  <a:schemeClr val="tx1"/>
                </a:solidFill>
              </a:endParaRPr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A608685C-F13E-F7FA-6709-C0998828BC1C}"/>
                </a:ext>
              </a:extLst>
            </p:cNvPr>
            <p:cNvSpPr txBox="1"/>
            <p:nvPr/>
          </p:nvSpPr>
          <p:spPr>
            <a:xfrm>
              <a:off x="531417" y="1901444"/>
              <a:ext cx="418704" cy="253916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de-DE" sz="1050">
                  <a:solidFill>
                    <a:schemeClr val="tx2"/>
                  </a:solidFill>
                </a:rPr>
                <a:t>25%</a:t>
              </a:r>
            </a:p>
          </p:txBody>
        </p:sp>
      </p:grpSp>
      <p:grpSp>
        <p:nvGrpSpPr>
          <p:cNvPr id="146" name="Gruppieren 145">
            <a:extLst>
              <a:ext uri="{FF2B5EF4-FFF2-40B4-BE49-F238E27FC236}">
                <a16:creationId xmlns:a16="http://schemas.microsoft.com/office/drawing/2014/main" id="{F439D089-E5C2-7C1B-C0BE-D68DA836588B}"/>
              </a:ext>
            </a:extLst>
          </p:cNvPr>
          <p:cNvGrpSpPr/>
          <p:nvPr/>
        </p:nvGrpSpPr>
        <p:grpSpPr>
          <a:xfrm>
            <a:off x="1792450" y="2045506"/>
            <a:ext cx="418704" cy="533073"/>
            <a:chOff x="1792450" y="2045506"/>
            <a:chExt cx="418704" cy="533073"/>
          </a:xfrm>
        </p:grpSpPr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A939C799-714A-6134-6E38-84B6A4B7CDD3}"/>
                </a:ext>
              </a:extLst>
            </p:cNvPr>
            <p:cNvSpPr/>
            <p:nvPr/>
          </p:nvSpPr>
          <p:spPr>
            <a:xfrm>
              <a:off x="1902067" y="2254183"/>
              <a:ext cx="176564" cy="324396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F18ADE50-03F4-EC22-2418-1E82275DCD86}"/>
                </a:ext>
              </a:extLst>
            </p:cNvPr>
            <p:cNvSpPr txBox="1"/>
            <p:nvPr/>
          </p:nvSpPr>
          <p:spPr>
            <a:xfrm>
              <a:off x="1792450" y="2045506"/>
              <a:ext cx="418704" cy="253916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de-DE" sz="1050">
                  <a:solidFill>
                    <a:schemeClr val="tx2"/>
                  </a:solidFill>
                </a:rPr>
                <a:t>15%</a:t>
              </a:r>
            </a:p>
          </p:txBody>
        </p:sp>
      </p:grpSp>
      <p:grpSp>
        <p:nvGrpSpPr>
          <p:cNvPr id="154" name="Gruppieren 153">
            <a:extLst>
              <a:ext uri="{FF2B5EF4-FFF2-40B4-BE49-F238E27FC236}">
                <a16:creationId xmlns:a16="http://schemas.microsoft.com/office/drawing/2014/main" id="{294DCD0F-BAAE-29F7-3C6D-4792CBDF5B34}"/>
              </a:ext>
            </a:extLst>
          </p:cNvPr>
          <p:cNvGrpSpPr/>
          <p:nvPr/>
        </p:nvGrpSpPr>
        <p:grpSpPr>
          <a:xfrm>
            <a:off x="7040368" y="2012047"/>
            <a:ext cx="418704" cy="566532"/>
            <a:chOff x="7040368" y="2012047"/>
            <a:chExt cx="418704" cy="566532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D9FD07C6-8104-0074-5417-FF4FBC8898B4}"/>
                </a:ext>
              </a:extLst>
            </p:cNvPr>
            <p:cNvSpPr/>
            <p:nvPr/>
          </p:nvSpPr>
          <p:spPr>
            <a:xfrm>
              <a:off x="7166186" y="2234531"/>
              <a:ext cx="144000" cy="34404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8529C11-2036-2C05-8124-400198213B85}"/>
                </a:ext>
              </a:extLst>
            </p:cNvPr>
            <p:cNvSpPr txBox="1"/>
            <p:nvPr/>
          </p:nvSpPr>
          <p:spPr>
            <a:xfrm>
              <a:off x="7040368" y="2012047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tx2"/>
                  </a:solidFill>
                </a:rPr>
                <a:t>21%</a:t>
              </a:r>
            </a:p>
          </p:txBody>
        </p:sp>
      </p:grpSp>
      <p:grpSp>
        <p:nvGrpSpPr>
          <p:cNvPr id="149" name="Gruppieren 148">
            <a:extLst>
              <a:ext uri="{FF2B5EF4-FFF2-40B4-BE49-F238E27FC236}">
                <a16:creationId xmlns:a16="http://schemas.microsoft.com/office/drawing/2014/main" id="{92A398CB-FF11-0E68-80F4-7D074114415D}"/>
              </a:ext>
            </a:extLst>
          </p:cNvPr>
          <p:cNvGrpSpPr/>
          <p:nvPr/>
        </p:nvGrpSpPr>
        <p:grpSpPr>
          <a:xfrm>
            <a:off x="3466796" y="1598659"/>
            <a:ext cx="418704" cy="979921"/>
            <a:chOff x="3466796" y="1598659"/>
            <a:chExt cx="418704" cy="979921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6897C38-BB1F-79A6-7CCA-A4F4331787F4}"/>
                </a:ext>
              </a:extLst>
            </p:cNvPr>
            <p:cNvSpPr/>
            <p:nvPr/>
          </p:nvSpPr>
          <p:spPr>
            <a:xfrm>
              <a:off x="3595564" y="1826966"/>
              <a:ext cx="144000" cy="751614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F53E2679-71E1-CC0E-707F-1316912472FE}"/>
                </a:ext>
              </a:extLst>
            </p:cNvPr>
            <p:cNvSpPr txBox="1"/>
            <p:nvPr/>
          </p:nvSpPr>
          <p:spPr>
            <a:xfrm>
              <a:off x="3466796" y="1598659"/>
              <a:ext cx="418704" cy="253916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de-DE" sz="1050">
                  <a:solidFill>
                    <a:schemeClr val="bg2"/>
                  </a:solidFill>
                </a:rPr>
                <a:t>38%</a:t>
              </a:r>
            </a:p>
          </p:txBody>
        </p:sp>
      </p:grpSp>
      <p:grpSp>
        <p:nvGrpSpPr>
          <p:cNvPr id="159" name="Gruppieren 158">
            <a:extLst>
              <a:ext uri="{FF2B5EF4-FFF2-40B4-BE49-F238E27FC236}">
                <a16:creationId xmlns:a16="http://schemas.microsoft.com/office/drawing/2014/main" id="{082C1BE8-28EF-8380-3800-200A51E3EDD1}"/>
              </a:ext>
            </a:extLst>
          </p:cNvPr>
          <p:cNvGrpSpPr/>
          <p:nvPr/>
        </p:nvGrpSpPr>
        <p:grpSpPr>
          <a:xfrm>
            <a:off x="9996894" y="1809396"/>
            <a:ext cx="418704" cy="769183"/>
            <a:chOff x="9996894" y="1809396"/>
            <a:chExt cx="418704" cy="769183"/>
          </a:xfrm>
        </p:grpSpPr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B479144C-2F39-87EF-CBA4-5D7FBB60AC03}"/>
                </a:ext>
              </a:extLst>
            </p:cNvPr>
            <p:cNvSpPr/>
            <p:nvPr/>
          </p:nvSpPr>
          <p:spPr>
            <a:xfrm>
              <a:off x="10119646" y="2018494"/>
              <a:ext cx="144000" cy="560085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EF52A189-41D5-189F-AE37-BEA0DF905527}"/>
                </a:ext>
              </a:extLst>
            </p:cNvPr>
            <p:cNvSpPr txBox="1"/>
            <p:nvPr/>
          </p:nvSpPr>
          <p:spPr>
            <a:xfrm>
              <a:off x="9996894" y="1809396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bg2"/>
                  </a:solidFill>
                </a:rPr>
                <a:t>31%</a:t>
              </a:r>
            </a:p>
          </p:txBody>
        </p:sp>
      </p:grpSp>
      <p:grpSp>
        <p:nvGrpSpPr>
          <p:cNvPr id="157" name="Gruppieren 156">
            <a:extLst>
              <a:ext uri="{FF2B5EF4-FFF2-40B4-BE49-F238E27FC236}">
                <a16:creationId xmlns:a16="http://schemas.microsoft.com/office/drawing/2014/main" id="{18836A0E-4CC4-11A6-DCA7-09E68876CAF3}"/>
              </a:ext>
            </a:extLst>
          </p:cNvPr>
          <p:cNvGrpSpPr/>
          <p:nvPr/>
        </p:nvGrpSpPr>
        <p:grpSpPr>
          <a:xfrm>
            <a:off x="8683540" y="1861531"/>
            <a:ext cx="418704" cy="717048"/>
            <a:chOff x="8683540" y="1861531"/>
            <a:chExt cx="418704" cy="717048"/>
          </a:xfrm>
        </p:grpSpPr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42DE9E4A-74D5-698C-9248-8CFF54FD95C5}"/>
                </a:ext>
              </a:extLst>
            </p:cNvPr>
            <p:cNvSpPr/>
            <p:nvPr/>
          </p:nvSpPr>
          <p:spPr>
            <a:xfrm>
              <a:off x="8806292" y="2085975"/>
              <a:ext cx="144000" cy="492604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2381A262-408F-91CE-70A3-D36C27A0EE59}"/>
                </a:ext>
              </a:extLst>
            </p:cNvPr>
            <p:cNvSpPr txBox="1"/>
            <p:nvPr/>
          </p:nvSpPr>
          <p:spPr>
            <a:xfrm>
              <a:off x="8683540" y="1861531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bg2"/>
                  </a:solidFill>
                </a:rPr>
                <a:t>27%</a:t>
              </a:r>
            </a:p>
          </p:txBody>
        </p:sp>
      </p:grpSp>
      <p:grpSp>
        <p:nvGrpSpPr>
          <p:cNvPr id="161" name="Gruppieren 160">
            <a:extLst>
              <a:ext uri="{FF2B5EF4-FFF2-40B4-BE49-F238E27FC236}">
                <a16:creationId xmlns:a16="http://schemas.microsoft.com/office/drawing/2014/main" id="{C4A41C17-C539-5E88-BDA7-E50C532AECB6}"/>
              </a:ext>
            </a:extLst>
          </p:cNvPr>
          <p:cNvGrpSpPr/>
          <p:nvPr/>
        </p:nvGrpSpPr>
        <p:grpSpPr>
          <a:xfrm>
            <a:off x="10985810" y="1790963"/>
            <a:ext cx="418704" cy="787616"/>
            <a:chOff x="10985810" y="1790963"/>
            <a:chExt cx="418704" cy="787616"/>
          </a:xfrm>
        </p:grpSpPr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74C64E3-5C77-0BED-9855-FFAD5A210E69}"/>
                </a:ext>
              </a:extLst>
            </p:cNvPr>
            <p:cNvSpPr/>
            <p:nvPr/>
          </p:nvSpPr>
          <p:spPr>
            <a:xfrm>
              <a:off x="11108562" y="2018494"/>
              <a:ext cx="144000" cy="560085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BFFB80C5-FD86-BCCC-5CB1-E10B62BDA805}"/>
                </a:ext>
              </a:extLst>
            </p:cNvPr>
            <p:cNvSpPr txBox="1"/>
            <p:nvPr/>
          </p:nvSpPr>
          <p:spPr>
            <a:xfrm>
              <a:off x="10985810" y="1790963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bg2"/>
                  </a:solidFill>
                </a:rPr>
                <a:t>31%</a:t>
              </a:r>
            </a:p>
          </p:txBody>
        </p:sp>
      </p:grpSp>
      <p:grpSp>
        <p:nvGrpSpPr>
          <p:cNvPr id="153" name="Gruppieren 152">
            <a:extLst>
              <a:ext uri="{FF2B5EF4-FFF2-40B4-BE49-F238E27FC236}">
                <a16:creationId xmlns:a16="http://schemas.microsoft.com/office/drawing/2014/main" id="{C74089EF-85EE-81C2-430B-6BBBBB3F66A2}"/>
              </a:ext>
            </a:extLst>
          </p:cNvPr>
          <p:cNvGrpSpPr/>
          <p:nvPr/>
        </p:nvGrpSpPr>
        <p:grpSpPr>
          <a:xfrm>
            <a:off x="6024265" y="1533588"/>
            <a:ext cx="418704" cy="1044991"/>
            <a:chOff x="6024265" y="1533588"/>
            <a:chExt cx="418704" cy="1044991"/>
          </a:xfrm>
        </p:grpSpPr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176EB957-4789-F799-9E7E-BBF7790BC3CE}"/>
                </a:ext>
              </a:extLst>
            </p:cNvPr>
            <p:cNvSpPr/>
            <p:nvPr/>
          </p:nvSpPr>
          <p:spPr>
            <a:xfrm>
              <a:off x="6147017" y="1763878"/>
              <a:ext cx="144000" cy="814701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27C53D51-C4C2-9C7C-88B0-E83F8F870D41}"/>
                </a:ext>
              </a:extLst>
            </p:cNvPr>
            <p:cNvSpPr txBox="1"/>
            <p:nvPr/>
          </p:nvSpPr>
          <p:spPr>
            <a:xfrm>
              <a:off x="6024265" y="1533588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bg2"/>
                  </a:solidFill>
                </a:rPr>
                <a:t>40%</a:t>
              </a:r>
            </a:p>
          </p:txBody>
        </p:sp>
      </p:grpSp>
      <p:grpSp>
        <p:nvGrpSpPr>
          <p:cNvPr id="145" name="Gruppieren 144">
            <a:extLst>
              <a:ext uri="{FF2B5EF4-FFF2-40B4-BE49-F238E27FC236}">
                <a16:creationId xmlns:a16="http://schemas.microsoft.com/office/drawing/2014/main" id="{82C30E5D-B350-5DD2-11EA-CEC626AF090D}"/>
              </a:ext>
            </a:extLst>
          </p:cNvPr>
          <p:cNvGrpSpPr/>
          <p:nvPr/>
        </p:nvGrpSpPr>
        <p:grpSpPr>
          <a:xfrm>
            <a:off x="844663" y="1698167"/>
            <a:ext cx="418704" cy="880412"/>
            <a:chOff x="844663" y="1698167"/>
            <a:chExt cx="418704" cy="880412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AC86F56C-4AC1-F48C-9AE9-832CB180F4E6}"/>
                </a:ext>
              </a:extLst>
            </p:cNvPr>
            <p:cNvSpPr/>
            <p:nvPr/>
          </p:nvSpPr>
          <p:spPr>
            <a:xfrm>
              <a:off x="967608" y="1919288"/>
              <a:ext cx="144000" cy="659291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C98DE109-CD0A-E592-1770-428930EEF03E}"/>
                </a:ext>
              </a:extLst>
            </p:cNvPr>
            <p:cNvSpPr txBox="1"/>
            <p:nvPr/>
          </p:nvSpPr>
          <p:spPr>
            <a:xfrm>
              <a:off x="844663" y="1698167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bg2"/>
                  </a:solidFill>
                </a:rPr>
                <a:t>33%</a:t>
              </a:r>
            </a:p>
          </p:txBody>
        </p:sp>
      </p:grpSp>
      <p:grpSp>
        <p:nvGrpSpPr>
          <p:cNvPr id="147" name="Gruppieren 146">
            <a:extLst>
              <a:ext uri="{FF2B5EF4-FFF2-40B4-BE49-F238E27FC236}">
                <a16:creationId xmlns:a16="http://schemas.microsoft.com/office/drawing/2014/main" id="{57FE2698-9ECE-FFA1-5ADA-092EB0C6A4C3}"/>
              </a:ext>
            </a:extLst>
          </p:cNvPr>
          <p:cNvGrpSpPr/>
          <p:nvPr/>
        </p:nvGrpSpPr>
        <p:grpSpPr>
          <a:xfrm>
            <a:off x="2087710" y="1747946"/>
            <a:ext cx="418704" cy="830634"/>
            <a:chOff x="2087710" y="1747946"/>
            <a:chExt cx="418704" cy="830634"/>
          </a:xfrm>
        </p:grpSpPr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483EA198-0603-C5F4-F42E-696BA2BE6C98}"/>
                </a:ext>
              </a:extLst>
            </p:cNvPr>
            <p:cNvSpPr/>
            <p:nvPr/>
          </p:nvSpPr>
          <p:spPr>
            <a:xfrm>
              <a:off x="2196184" y="1984574"/>
              <a:ext cx="144000" cy="594006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7716EEB6-B93F-8899-1835-9F0771808DB7}"/>
                </a:ext>
              </a:extLst>
            </p:cNvPr>
            <p:cNvSpPr txBox="1"/>
            <p:nvPr/>
          </p:nvSpPr>
          <p:spPr>
            <a:xfrm>
              <a:off x="2087710" y="1747946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bg2"/>
                  </a:solidFill>
                </a:rPr>
                <a:t>30%</a:t>
              </a:r>
            </a:p>
          </p:txBody>
        </p:sp>
      </p:grpSp>
      <p:grpSp>
        <p:nvGrpSpPr>
          <p:cNvPr id="155" name="Gruppieren 154">
            <a:extLst>
              <a:ext uri="{FF2B5EF4-FFF2-40B4-BE49-F238E27FC236}">
                <a16:creationId xmlns:a16="http://schemas.microsoft.com/office/drawing/2014/main" id="{8DCBC258-66E9-BE9D-83D5-34A13891C704}"/>
              </a:ext>
            </a:extLst>
          </p:cNvPr>
          <p:cNvGrpSpPr/>
          <p:nvPr/>
        </p:nvGrpSpPr>
        <p:grpSpPr>
          <a:xfrm>
            <a:off x="7333296" y="1898195"/>
            <a:ext cx="418704" cy="680384"/>
            <a:chOff x="7333296" y="1898195"/>
            <a:chExt cx="418704" cy="680384"/>
          </a:xfrm>
        </p:grpSpPr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DA4C7A2B-00B3-8BD5-6D64-5E77F0BC2CEB}"/>
                </a:ext>
              </a:extLst>
            </p:cNvPr>
            <p:cNvSpPr/>
            <p:nvPr/>
          </p:nvSpPr>
          <p:spPr>
            <a:xfrm>
              <a:off x="7456241" y="2104530"/>
              <a:ext cx="144000" cy="474049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13F6D2A6-BD68-680B-8162-1D65B4FAAF56}"/>
                </a:ext>
              </a:extLst>
            </p:cNvPr>
            <p:cNvSpPr txBox="1"/>
            <p:nvPr/>
          </p:nvSpPr>
          <p:spPr>
            <a:xfrm>
              <a:off x="7333296" y="1898195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bg2"/>
                  </a:solidFill>
                </a:rPr>
                <a:t>28%</a:t>
              </a:r>
            </a:p>
          </p:txBody>
        </p:sp>
      </p:grpSp>
      <p:grpSp>
        <p:nvGrpSpPr>
          <p:cNvPr id="151" name="Gruppieren 150">
            <a:extLst>
              <a:ext uri="{FF2B5EF4-FFF2-40B4-BE49-F238E27FC236}">
                <a16:creationId xmlns:a16="http://schemas.microsoft.com/office/drawing/2014/main" id="{5C08B6C8-28C5-17F6-E6F0-FB8899E8FF24}"/>
              </a:ext>
            </a:extLst>
          </p:cNvPr>
          <p:cNvGrpSpPr/>
          <p:nvPr/>
        </p:nvGrpSpPr>
        <p:grpSpPr>
          <a:xfrm>
            <a:off x="4763075" y="1744296"/>
            <a:ext cx="418704" cy="832066"/>
            <a:chOff x="4763075" y="1744296"/>
            <a:chExt cx="418704" cy="832066"/>
          </a:xfrm>
        </p:grpSpPr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3F4F4A8C-5F35-BDE7-826C-18F809EC597A}"/>
                </a:ext>
              </a:extLst>
            </p:cNvPr>
            <p:cNvSpPr/>
            <p:nvPr/>
          </p:nvSpPr>
          <p:spPr>
            <a:xfrm>
              <a:off x="4885827" y="1963905"/>
              <a:ext cx="144000" cy="612457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7C1A6317-5123-C4CB-6F7B-4734E84C3BBE}"/>
                </a:ext>
              </a:extLst>
            </p:cNvPr>
            <p:cNvSpPr txBox="1"/>
            <p:nvPr/>
          </p:nvSpPr>
          <p:spPr>
            <a:xfrm>
              <a:off x="4763075" y="1744296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>
                  <a:solidFill>
                    <a:schemeClr val="bg2"/>
                  </a:solidFill>
                </a:rPr>
                <a:t>35%</a:t>
              </a:r>
            </a:p>
          </p:txBody>
        </p:sp>
      </p:grpSp>
      <p:sp>
        <p:nvSpPr>
          <p:cNvPr id="80" name="Textfeld 79">
            <a:extLst>
              <a:ext uri="{FF2B5EF4-FFF2-40B4-BE49-F238E27FC236}">
                <a16:creationId xmlns:a16="http://schemas.microsoft.com/office/drawing/2014/main" id="{49E86486-0D4F-0701-8FDA-7CB7D1ACE575}"/>
              </a:ext>
            </a:extLst>
          </p:cNvPr>
          <p:cNvSpPr txBox="1"/>
          <p:nvPr/>
        </p:nvSpPr>
        <p:spPr>
          <a:xfrm>
            <a:off x="400517" y="4239144"/>
            <a:ext cx="12282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Sourcing bot for index-based prices, using forecast and </a:t>
            </a:r>
            <a:br>
              <a:rPr lang="en-US" sz="1000"/>
            </a:br>
            <a:r>
              <a:rPr lang="en-US" sz="1000"/>
              <a:t>other data sources to suggest right time to source</a:t>
            </a: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48EB7EBF-38EB-0994-86E6-E723F210B4D4}"/>
              </a:ext>
            </a:extLst>
          </p:cNvPr>
          <p:cNvSpPr/>
          <p:nvPr/>
        </p:nvSpPr>
        <p:spPr>
          <a:xfrm>
            <a:off x="189399" y="368439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28351F05-80CF-BE48-B058-D1A1607DE9CC}"/>
              </a:ext>
            </a:extLst>
          </p:cNvPr>
          <p:cNvSpPr txBox="1"/>
          <p:nvPr/>
        </p:nvSpPr>
        <p:spPr>
          <a:xfrm>
            <a:off x="400519" y="3646294"/>
            <a:ext cx="11164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err="1"/>
              <a:t>Complex</a:t>
            </a:r>
            <a:r>
              <a:rPr lang="de-DE" sz="1000"/>
              <a:t> </a:t>
            </a:r>
            <a:r>
              <a:rPr lang="de-DE" sz="1000" err="1"/>
              <a:t>analysis</a:t>
            </a:r>
            <a:r>
              <a:rPr lang="de-DE" sz="1000"/>
              <a:t> </a:t>
            </a:r>
            <a:r>
              <a:rPr lang="de-DE" sz="1000" err="1"/>
              <a:t>of</a:t>
            </a:r>
            <a:r>
              <a:rPr lang="de-DE" sz="1000"/>
              <a:t> </a:t>
            </a:r>
            <a:r>
              <a:rPr lang="de-DE" sz="1000" err="1"/>
              <a:t>sourcing</a:t>
            </a:r>
            <a:r>
              <a:rPr lang="de-DE" sz="1000"/>
              <a:t> </a:t>
            </a:r>
            <a:r>
              <a:rPr lang="de-DE" sz="1000" err="1"/>
              <a:t>events</a:t>
            </a:r>
            <a:endParaRPr lang="de-DE" sz="1000"/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CFCFB873-D0A7-0AE7-B96F-52826B58A01D}"/>
              </a:ext>
            </a:extLst>
          </p:cNvPr>
          <p:cNvSpPr/>
          <p:nvPr/>
        </p:nvSpPr>
        <p:spPr>
          <a:xfrm>
            <a:off x="189399" y="4294036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45E034D6-B98A-17AA-FD3D-970D6E084096}"/>
              </a:ext>
            </a:extLst>
          </p:cNvPr>
          <p:cNvSpPr/>
          <p:nvPr/>
        </p:nvSpPr>
        <p:spPr>
          <a:xfrm>
            <a:off x="189399" y="531371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5CBD6EB2-1E41-18BF-82AB-BFA732CC115C}"/>
              </a:ext>
            </a:extLst>
          </p:cNvPr>
          <p:cNvSpPr txBox="1"/>
          <p:nvPr/>
        </p:nvSpPr>
        <p:spPr>
          <a:xfrm>
            <a:off x="400517" y="5258822"/>
            <a:ext cx="1116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Savings generation by finding similar material with AI</a:t>
            </a:r>
          </a:p>
        </p:txBody>
      </p:sp>
      <p:sp>
        <p:nvSpPr>
          <p:cNvPr id="75" name="Ellipse 74">
            <a:extLst>
              <a:ext uri="{FF2B5EF4-FFF2-40B4-BE49-F238E27FC236}">
                <a16:creationId xmlns:a16="http://schemas.microsoft.com/office/drawing/2014/main" id="{FF188417-5183-B30F-81A2-9468027D3A74}"/>
              </a:ext>
            </a:extLst>
          </p:cNvPr>
          <p:cNvSpPr/>
          <p:nvPr/>
        </p:nvSpPr>
        <p:spPr>
          <a:xfrm>
            <a:off x="1520378" y="368439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8C4F5C51-9136-A5C0-9526-1FEA502AC2AA}"/>
              </a:ext>
            </a:extLst>
          </p:cNvPr>
          <p:cNvSpPr txBox="1"/>
          <p:nvPr/>
        </p:nvSpPr>
        <p:spPr>
          <a:xfrm>
            <a:off x="1731588" y="3646294"/>
            <a:ext cx="111646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err="1"/>
              <a:t>Understand</a:t>
            </a:r>
            <a:r>
              <a:rPr lang="de-DE" sz="1000"/>
              <a:t> and score open-text </a:t>
            </a:r>
            <a:r>
              <a:rPr lang="de-DE" sz="1000" err="1"/>
              <a:t>feedback</a:t>
            </a:r>
            <a:r>
              <a:rPr lang="de-DE" sz="1000"/>
              <a:t> on supplier </a:t>
            </a:r>
            <a:r>
              <a:rPr lang="de-DE" sz="1000" err="1"/>
              <a:t>questionnaires</a:t>
            </a:r>
            <a:endParaRPr lang="de-DE" sz="1000"/>
          </a:p>
        </p:txBody>
      </p:sp>
      <p:sp>
        <p:nvSpPr>
          <p:cNvPr id="101" name="Ellipse 100">
            <a:extLst>
              <a:ext uri="{FF2B5EF4-FFF2-40B4-BE49-F238E27FC236}">
                <a16:creationId xmlns:a16="http://schemas.microsoft.com/office/drawing/2014/main" id="{8453E2D7-426E-2112-298B-28BB899EB4A4}"/>
              </a:ext>
            </a:extLst>
          </p:cNvPr>
          <p:cNvSpPr/>
          <p:nvPr/>
        </p:nvSpPr>
        <p:spPr>
          <a:xfrm>
            <a:off x="1520378" y="458426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498FD456-5F38-6A61-DEDE-6446796022B8}"/>
              </a:ext>
            </a:extLst>
          </p:cNvPr>
          <p:cNvSpPr txBox="1"/>
          <p:nvPr/>
        </p:nvSpPr>
        <p:spPr>
          <a:xfrm>
            <a:off x="1731406" y="4546168"/>
            <a:ext cx="11164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Supplier n-tier </a:t>
            </a:r>
            <a:r>
              <a:rPr lang="de-DE" sz="1000" err="1"/>
              <a:t>mapping</a:t>
            </a:r>
            <a:r>
              <a:rPr lang="de-DE" sz="1000"/>
              <a:t> to </a:t>
            </a:r>
            <a:r>
              <a:rPr lang="de-DE" sz="1000" err="1"/>
              <a:t>model</a:t>
            </a:r>
            <a:r>
              <a:rPr lang="de-DE" sz="1000"/>
              <a:t> network</a:t>
            </a:r>
          </a:p>
        </p:txBody>
      </p:sp>
      <p:sp>
        <p:nvSpPr>
          <p:cNvPr id="103" name="Ellipse 102">
            <a:extLst>
              <a:ext uri="{FF2B5EF4-FFF2-40B4-BE49-F238E27FC236}">
                <a16:creationId xmlns:a16="http://schemas.microsoft.com/office/drawing/2014/main" id="{07939F5D-3D8F-DCC4-CEA2-945B23087F02}"/>
              </a:ext>
            </a:extLst>
          </p:cNvPr>
          <p:cNvSpPr/>
          <p:nvPr/>
        </p:nvSpPr>
        <p:spPr>
          <a:xfrm>
            <a:off x="1520378" y="5152395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0639B49F-653B-B76C-5C49-FB82BBB1C023}"/>
              </a:ext>
            </a:extLst>
          </p:cNvPr>
          <p:cNvSpPr txBox="1"/>
          <p:nvPr/>
        </p:nvSpPr>
        <p:spPr>
          <a:xfrm>
            <a:off x="1731406" y="5114295"/>
            <a:ext cx="11164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AI-</a:t>
            </a:r>
            <a:r>
              <a:rPr lang="de-DE" sz="1000" err="1"/>
              <a:t>based</a:t>
            </a:r>
            <a:r>
              <a:rPr lang="de-DE" sz="1000"/>
              <a:t> Supplier Performance </a:t>
            </a:r>
            <a:r>
              <a:rPr lang="de-DE" sz="1000" err="1"/>
              <a:t>control</a:t>
            </a:r>
            <a:endParaRPr lang="de-DE" sz="1000"/>
          </a:p>
        </p:txBody>
      </p:sp>
      <p:sp>
        <p:nvSpPr>
          <p:cNvPr id="107" name="Ellipse 106">
            <a:extLst>
              <a:ext uri="{FF2B5EF4-FFF2-40B4-BE49-F238E27FC236}">
                <a16:creationId xmlns:a16="http://schemas.microsoft.com/office/drawing/2014/main" id="{1E2D5A4D-22A5-7BA5-0D63-8F59ADB76438}"/>
              </a:ext>
            </a:extLst>
          </p:cNvPr>
          <p:cNvSpPr/>
          <p:nvPr/>
        </p:nvSpPr>
        <p:spPr>
          <a:xfrm>
            <a:off x="10767468" y="3677593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9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2D2928A6-E0BC-EA79-A67D-94FC4376771F}"/>
              </a:ext>
            </a:extLst>
          </p:cNvPr>
          <p:cNvSpPr txBox="1"/>
          <p:nvPr/>
        </p:nvSpPr>
        <p:spPr>
          <a:xfrm>
            <a:off x="10969976" y="3639493"/>
            <a:ext cx="11164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GenAI-powered fraud detection and -prevention</a:t>
            </a:r>
          </a:p>
        </p:txBody>
      </p:sp>
      <p:sp>
        <p:nvSpPr>
          <p:cNvPr id="109" name="Ellipse 108">
            <a:extLst>
              <a:ext uri="{FF2B5EF4-FFF2-40B4-BE49-F238E27FC236}">
                <a16:creationId xmlns:a16="http://schemas.microsoft.com/office/drawing/2014/main" id="{88D6E7B0-6DA8-58B4-0D24-C5668FEC75C8}"/>
              </a:ext>
            </a:extLst>
          </p:cNvPr>
          <p:cNvSpPr/>
          <p:nvPr/>
        </p:nvSpPr>
        <p:spPr>
          <a:xfrm>
            <a:off x="10767468" y="425236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0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F76C986D-9336-731B-193E-7AD21338898D}"/>
              </a:ext>
            </a:extLst>
          </p:cNvPr>
          <p:cNvSpPr txBox="1"/>
          <p:nvPr/>
        </p:nvSpPr>
        <p:spPr>
          <a:xfrm>
            <a:off x="10969976" y="4214264"/>
            <a:ext cx="1116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Intelligent payment routing</a:t>
            </a:r>
          </a:p>
        </p:txBody>
      </p:sp>
      <p:sp>
        <p:nvSpPr>
          <p:cNvPr id="111" name="Ellipse 110">
            <a:extLst>
              <a:ext uri="{FF2B5EF4-FFF2-40B4-BE49-F238E27FC236}">
                <a16:creationId xmlns:a16="http://schemas.microsoft.com/office/drawing/2014/main" id="{DF760BC0-8147-2B57-3D8A-4F1D2086488A}"/>
              </a:ext>
            </a:extLst>
          </p:cNvPr>
          <p:cNvSpPr/>
          <p:nvPr/>
        </p:nvSpPr>
        <p:spPr>
          <a:xfrm>
            <a:off x="10767468" y="470711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1</a:t>
            </a: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959759EF-27D4-2EEF-95A0-55C6ED73ACA8}"/>
              </a:ext>
            </a:extLst>
          </p:cNvPr>
          <p:cNvSpPr txBox="1"/>
          <p:nvPr/>
        </p:nvSpPr>
        <p:spPr>
          <a:xfrm>
            <a:off x="10969976" y="4669018"/>
            <a:ext cx="1116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I-driven credit scoring</a:t>
            </a:r>
          </a:p>
        </p:txBody>
      </p:sp>
      <p:sp>
        <p:nvSpPr>
          <p:cNvPr id="113" name="Ellipse 112">
            <a:extLst>
              <a:ext uri="{FF2B5EF4-FFF2-40B4-BE49-F238E27FC236}">
                <a16:creationId xmlns:a16="http://schemas.microsoft.com/office/drawing/2014/main" id="{221E267F-7BA7-C3C3-3125-23D4B6B40BC6}"/>
              </a:ext>
            </a:extLst>
          </p:cNvPr>
          <p:cNvSpPr/>
          <p:nvPr/>
        </p:nvSpPr>
        <p:spPr>
          <a:xfrm>
            <a:off x="10767468" y="5178223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2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A043A2F0-1563-ADE9-10EB-A4D7C4CF956B}"/>
              </a:ext>
            </a:extLst>
          </p:cNvPr>
          <p:cNvSpPr txBox="1"/>
          <p:nvPr/>
        </p:nvSpPr>
        <p:spPr>
          <a:xfrm>
            <a:off x="10968149" y="5140123"/>
            <a:ext cx="11164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compliance checks</a:t>
            </a:r>
          </a:p>
        </p:txBody>
      </p:sp>
      <p:sp>
        <p:nvSpPr>
          <p:cNvPr id="91" name="Ellipse 90">
            <a:extLst>
              <a:ext uri="{FF2B5EF4-FFF2-40B4-BE49-F238E27FC236}">
                <a16:creationId xmlns:a16="http://schemas.microsoft.com/office/drawing/2014/main" id="{360F762C-52CB-E372-9F62-4C1622FD5C4B}"/>
              </a:ext>
            </a:extLst>
          </p:cNvPr>
          <p:cNvSpPr/>
          <p:nvPr/>
        </p:nvSpPr>
        <p:spPr>
          <a:xfrm>
            <a:off x="6838774" y="367822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9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371E3122-F5F2-9F92-21E3-A9B0359E6684}"/>
              </a:ext>
            </a:extLst>
          </p:cNvPr>
          <p:cNvSpPr txBox="1"/>
          <p:nvPr/>
        </p:nvSpPr>
        <p:spPr>
          <a:xfrm>
            <a:off x="7040368" y="3640124"/>
            <a:ext cx="1116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data preparation for e.g. CSDDD and LKSG</a:t>
            </a:r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3C4A9A52-7B22-2888-3C0C-12D1AEBC7AB7}"/>
              </a:ext>
            </a:extLst>
          </p:cNvPr>
          <p:cNvSpPr/>
          <p:nvPr/>
        </p:nvSpPr>
        <p:spPr>
          <a:xfrm>
            <a:off x="6838774" y="437643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0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A09E52D9-FCE5-6887-7E6C-64D953DFDC83}"/>
              </a:ext>
            </a:extLst>
          </p:cNvPr>
          <p:cNvSpPr txBox="1"/>
          <p:nvPr/>
        </p:nvSpPr>
        <p:spPr>
          <a:xfrm>
            <a:off x="7040368" y="4338334"/>
            <a:ext cx="1116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I-based sustainability compliance monitoring</a:t>
            </a: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D235ECF4-DB59-49E4-7C1B-ED3C4E703450}"/>
              </a:ext>
            </a:extLst>
          </p:cNvPr>
          <p:cNvSpPr/>
          <p:nvPr/>
        </p:nvSpPr>
        <p:spPr>
          <a:xfrm>
            <a:off x="6838774" y="5064546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1</a:t>
            </a:r>
          </a:p>
        </p:txBody>
      </p:sp>
      <p:sp>
        <p:nvSpPr>
          <p:cNvPr id="120" name="Textfeld 119">
            <a:extLst>
              <a:ext uri="{FF2B5EF4-FFF2-40B4-BE49-F238E27FC236}">
                <a16:creationId xmlns:a16="http://schemas.microsoft.com/office/drawing/2014/main" id="{8BFDC137-69A5-B231-5003-D53A3BC6351B}"/>
              </a:ext>
            </a:extLst>
          </p:cNvPr>
          <p:cNvSpPr txBox="1"/>
          <p:nvPr/>
        </p:nvSpPr>
        <p:spPr>
          <a:xfrm>
            <a:off x="7040368" y="5026446"/>
            <a:ext cx="11164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lternative materials based on CO2 Footprint</a:t>
            </a: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29924436-ED29-095C-7313-14D7C9CE5366}"/>
              </a:ext>
            </a:extLst>
          </p:cNvPr>
          <p:cNvSpPr/>
          <p:nvPr/>
        </p:nvSpPr>
        <p:spPr>
          <a:xfrm>
            <a:off x="6838774" y="5628162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2</a:t>
            </a:r>
          </a:p>
        </p:txBody>
      </p:sp>
      <p:sp>
        <p:nvSpPr>
          <p:cNvPr id="122" name="Textfeld 121">
            <a:extLst>
              <a:ext uri="{FF2B5EF4-FFF2-40B4-BE49-F238E27FC236}">
                <a16:creationId xmlns:a16="http://schemas.microsoft.com/office/drawing/2014/main" id="{CAC8E31D-0BBE-B031-CDAA-7070E416FF60}"/>
              </a:ext>
            </a:extLst>
          </p:cNvPr>
          <p:cNvSpPr txBox="1"/>
          <p:nvPr/>
        </p:nvSpPr>
        <p:spPr>
          <a:xfrm>
            <a:off x="7040368" y="5590062"/>
            <a:ext cx="1116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Optimized shipping routes and -consolidation</a:t>
            </a: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4BF6516-E13D-FF66-CABF-808CF04EA30E}"/>
              </a:ext>
            </a:extLst>
          </p:cNvPr>
          <p:cNvSpPr/>
          <p:nvPr/>
        </p:nvSpPr>
        <p:spPr>
          <a:xfrm>
            <a:off x="5590925" y="368439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6EA9C040-C493-C9E3-993F-18DC14726CFA}"/>
              </a:ext>
            </a:extLst>
          </p:cNvPr>
          <p:cNvSpPr txBox="1"/>
          <p:nvPr/>
        </p:nvSpPr>
        <p:spPr>
          <a:xfrm>
            <a:off x="5800614" y="3646294"/>
            <a:ext cx="11164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GenAI-driven Procurement Analytics</a:t>
            </a:r>
          </a:p>
        </p:txBody>
      </p:sp>
      <p:sp>
        <p:nvSpPr>
          <p:cNvPr id="89" name="Ellipse 88">
            <a:extLst>
              <a:ext uri="{FF2B5EF4-FFF2-40B4-BE49-F238E27FC236}">
                <a16:creationId xmlns:a16="http://schemas.microsoft.com/office/drawing/2014/main" id="{FADAE9A4-0346-E2C6-4977-FE06C33CEEF8}"/>
              </a:ext>
            </a:extLst>
          </p:cNvPr>
          <p:cNvSpPr/>
          <p:nvPr/>
        </p:nvSpPr>
        <p:spPr>
          <a:xfrm>
            <a:off x="5590925" y="423331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5</a:t>
            </a: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EA137A1A-821B-B1A1-9FE0-B6A7BC0E7966}"/>
              </a:ext>
            </a:extLst>
          </p:cNvPr>
          <p:cNvSpPr txBox="1"/>
          <p:nvPr/>
        </p:nvSpPr>
        <p:spPr>
          <a:xfrm>
            <a:off x="5800614" y="4195214"/>
            <a:ext cx="10165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category mapping</a:t>
            </a:r>
          </a:p>
        </p:txBody>
      </p:sp>
      <p:sp>
        <p:nvSpPr>
          <p:cNvPr id="93" name="Ellipse 92">
            <a:extLst>
              <a:ext uri="{FF2B5EF4-FFF2-40B4-BE49-F238E27FC236}">
                <a16:creationId xmlns:a16="http://schemas.microsoft.com/office/drawing/2014/main" id="{634854C7-D2DB-F221-17E1-06D422827E1C}"/>
              </a:ext>
            </a:extLst>
          </p:cNvPr>
          <p:cNvSpPr/>
          <p:nvPr/>
        </p:nvSpPr>
        <p:spPr>
          <a:xfrm>
            <a:off x="5590925" y="4791759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6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3C7918E4-7353-610A-A6F5-348491F18067}"/>
              </a:ext>
            </a:extLst>
          </p:cNvPr>
          <p:cNvSpPr txBox="1"/>
          <p:nvPr/>
        </p:nvSpPr>
        <p:spPr>
          <a:xfrm>
            <a:off x="5793950" y="4753659"/>
            <a:ext cx="946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nomous data cleansing</a:t>
            </a: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53B05204-6A8C-7DA4-EABD-66A3C048D84D}"/>
              </a:ext>
            </a:extLst>
          </p:cNvPr>
          <p:cNvSpPr/>
          <p:nvPr/>
        </p:nvSpPr>
        <p:spPr>
          <a:xfrm>
            <a:off x="5590925" y="5204629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7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8D42BD1F-7ED2-2AE9-CAA8-8F2ABAB30094}"/>
              </a:ext>
            </a:extLst>
          </p:cNvPr>
          <p:cNvSpPr txBox="1"/>
          <p:nvPr/>
        </p:nvSpPr>
        <p:spPr>
          <a:xfrm>
            <a:off x="5793950" y="5166529"/>
            <a:ext cx="94665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Gen(AI)-suggested cost improvements</a:t>
            </a:r>
          </a:p>
        </p:txBody>
      </p:sp>
      <p:sp>
        <p:nvSpPr>
          <p:cNvPr id="127" name="Ellipse 126">
            <a:extLst>
              <a:ext uri="{FF2B5EF4-FFF2-40B4-BE49-F238E27FC236}">
                <a16:creationId xmlns:a16="http://schemas.microsoft.com/office/drawing/2014/main" id="{5AA6A9ED-BE53-D569-5EFD-DD36E48D13B9}"/>
              </a:ext>
            </a:extLst>
          </p:cNvPr>
          <p:cNvSpPr/>
          <p:nvPr/>
        </p:nvSpPr>
        <p:spPr>
          <a:xfrm>
            <a:off x="5590925" y="573864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8</a:t>
            </a:r>
          </a:p>
        </p:txBody>
      </p:sp>
      <p:sp>
        <p:nvSpPr>
          <p:cNvPr id="128" name="Textfeld 127">
            <a:extLst>
              <a:ext uri="{FF2B5EF4-FFF2-40B4-BE49-F238E27FC236}">
                <a16:creationId xmlns:a16="http://schemas.microsoft.com/office/drawing/2014/main" id="{6C272CEF-854B-C7D0-6A80-2137BB2C5783}"/>
              </a:ext>
            </a:extLst>
          </p:cNvPr>
          <p:cNvSpPr txBox="1"/>
          <p:nvPr/>
        </p:nvSpPr>
        <p:spPr>
          <a:xfrm>
            <a:off x="5793950" y="5700541"/>
            <a:ext cx="94665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Tail Spend Categorization</a:t>
            </a: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B3E468E7-BF01-6462-5462-70D856DA3D05}"/>
              </a:ext>
            </a:extLst>
          </p:cNvPr>
          <p:cNvSpPr/>
          <p:nvPr/>
        </p:nvSpPr>
        <p:spPr>
          <a:xfrm>
            <a:off x="4235425" y="368439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C62238A7-8A04-E0F6-AFC7-877F3A58302C}"/>
              </a:ext>
            </a:extLst>
          </p:cNvPr>
          <p:cNvSpPr txBox="1"/>
          <p:nvPr/>
        </p:nvSpPr>
        <p:spPr>
          <a:xfrm>
            <a:off x="4450808" y="3646294"/>
            <a:ext cx="1116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N-tier supplier / supply chain risk to predict supply disruptions</a:t>
            </a:r>
          </a:p>
        </p:txBody>
      </p:sp>
      <p:sp>
        <p:nvSpPr>
          <p:cNvPr id="105" name="Ellipse 104">
            <a:extLst>
              <a:ext uri="{FF2B5EF4-FFF2-40B4-BE49-F238E27FC236}">
                <a16:creationId xmlns:a16="http://schemas.microsoft.com/office/drawing/2014/main" id="{2282D078-C1A2-AF98-26EA-65FBBD88CC55}"/>
              </a:ext>
            </a:extLst>
          </p:cNvPr>
          <p:cNvSpPr/>
          <p:nvPr/>
        </p:nvSpPr>
        <p:spPr>
          <a:xfrm>
            <a:off x="4235425" y="441199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F8F61FED-BED5-1F75-38C4-25439C9BCCB3}"/>
              </a:ext>
            </a:extLst>
          </p:cNvPr>
          <p:cNvSpPr txBox="1"/>
          <p:nvPr/>
        </p:nvSpPr>
        <p:spPr>
          <a:xfrm>
            <a:off x="4450808" y="4373890"/>
            <a:ext cx="111646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GenAI-created supplier risk profiles w/ market and real-time data</a:t>
            </a:r>
          </a:p>
        </p:txBody>
      </p:sp>
      <p:sp>
        <p:nvSpPr>
          <p:cNvPr id="129" name="Ellipse 128">
            <a:extLst>
              <a:ext uri="{FF2B5EF4-FFF2-40B4-BE49-F238E27FC236}">
                <a16:creationId xmlns:a16="http://schemas.microsoft.com/office/drawing/2014/main" id="{E953ED62-301B-6D93-CB29-35A54621B5BE}"/>
              </a:ext>
            </a:extLst>
          </p:cNvPr>
          <p:cNvSpPr/>
          <p:nvPr/>
        </p:nvSpPr>
        <p:spPr>
          <a:xfrm>
            <a:off x="4263911" y="526052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130" name="Textfeld 129">
            <a:extLst>
              <a:ext uri="{FF2B5EF4-FFF2-40B4-BE49-F238E27FC236}">
                <a16:creationId xmlns:a16="http://schemas.microsoft.com/office/drawing/2014/main" id="{69563601-AA7C-0E07-41B3-78373361766F}"/>
              </a:ext>
            </a:extLst>
          </p:cNvPr>
          <p:cNvSpPr txBox="1"/>
          <p:nvPr/>
        </p:nvSpPr>
        <p:spPr>
          <a:xfrm>
            <a:off x="4442281" y="5222420"/>
            <a:ext cx="1116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Risk-based decision-making</a:t>
            </a: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D2A83909-E48C-CD8E-7C87-FA91A72C825F}"/>
              </a:ext>
            </a:extLst>
          </p:cNvPr>
          <p:cNvSpPr/>
          <p:nvPr/>
        </p:nvSpPr>
        <p:spPr>
          <a:xfrm>
            <a:off x="2880079" y="368439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EBB7E762-A2DB-55AE-BA73-16AEB34050FA}"/>
              </a:ext>
            </a:extLst>
          </p:cNvPr>
          <p:cNvSpPr txBox="1"/>
          <p:nvPr/>
        </p:nvSpPr>
        <p:spPr>
          <a:xfrm>
            <a:off x="3091286" y="3646294"/>
            <a:ext cx="1116466" cy="86177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00"/>
              <a:t>Data extraction, clause classification &amp; contract summarization</a:t>
            </a:r>
          </a:p>
        </p:txBody>
      </p:sp>
      <p:sp>
        <p:nvSpPr>
          <p:cNvPr id="95" name="Ellipse 94">
            <a:extLst>
              <a:ext uri="{FF2B5EF4-FFF2-40B4-BE49-F238E27FC236}">
                <a16:creationId xmlns:a16="http://schemas.microsoft.com/office/drawing/2014/main" id="{1CD053C7-1407-09B7-4DF3-DC227A4E69FD}"/>
              </a:ext>
            </a:extLst>
          </p:cNvPr>
          <p:cNvSpPr/>
          <p:nvPr/>
        </p:nvSpPr>
        <p:spPr>
          <a:xfrm>
            <a:off x="2880079" y="456063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E9A7D9DC-5D04-CB7C-57DC-1430EE42A3B4}"/>
              </a:ext>
            </a:extLst>
          </p:cNvPr>
          <p:cNvSpPr txBox="1"/>
          <p:nvPr/>
        </p:nvSpPr>
        <p:spPr>
          <a:xfrm>
            <a:off x="3091286" y="4522530"/>
            <a:ext cx="1169903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00"/>
              <a:t>AI-based document reading </a:t>
            </a:r>
            <a:endParaRPr lang="en-US" sz="1000">
              <a:ea typeface="Calibri"/>
              <a:cs typeface="Calibri"/>
            </a:endParaRPr>
          </a:p>
        </p:txBody>
      </p:sp>
      <p:sp>
        <p:nvSpPr>
          <p:cNvPr id="131" name="Ellipse 130">
            <a:extLst>
              <a:ext uri="{FF2B5EF4-FFF2-40B4-BE49-F238E27FC236}">
                <a16:creationId xmlns:a16="http://schemas.microsoft.com/office/drawing/2014/main" id="{DD49525E-7696-74A9-761A-3C3E3622447A}"/>
              </a:ext>
            </a:extLst>
          </p:cNvPr>
          <p:cNvSpPr/>
          <p:nvPr/>
        </p:nvSpPr>
        <p:spPr>
          <a:xfrm>
            <a:off x="2880079" y="496890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32" name="Textfeld 131">
            <a:extLst>
              <a:ext uri="{FF2B5EF4-FFF2-40B4-BE49-F238E27FC236}">
                <a16:creationId xmlns:a16="http://schemas.microsoft.com/office/drawing/2014/main" id="{6EB79C12-F9B7-7CD1-4945-8AB019FE139B}"/>
              </a:ext>
            </a:extLst>
          </p:cNvPr>
          <p:cNvSpPr txBox="1"/>
          <p:nvPr/>
        </p:nvSpPr>
        <p:spPr>
          <a:xfrm>
            <a:off x="3091286" y="4952164"/>
            <a:ext cx="1169903" cy="55399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00"/>
              <a:t>Semantic Search &amp; Contract Analysis</a:t>
            </a:r>
          </a:p>
          <a:p>
            <a:endParaRPr lang="en-US" sz="1000">
              <a:highlight>
                <a:srgbClr val="FF00FF"/>
              </a:highlight>
              <a:ea typeface="Calibri"/>
              <a:cs typeface="Calibri"/>
            </a:endParaRPr>
          </a:p>
        </p:txBody>
      </p:sp>
      <p:sp>
        <p:nvSpPr>
          <p:cNvPr id="133" name="Ellipse 132">
            <a:extLst>
              <a:ext uri="{FF2B5EF4-FFF2-40B4-BE49-F238E27FC236}">
                <a16:creationId xmlns:a16="http://schemas.microsoft.com/office/drawing/2014/main" id="{46A950F4-2D06-9671-E0CB-3689E901251D}"/>
              </a:ext>
            </a:extLst>
          </p:cNvPr>
          <p:cNvSpPr/>
          <p:nvPr/>
        </p:nvSpPr>
        <p:spPr>
          <a:xfrm>
            <a:off x="2890110" y="5431769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121D556C-C0CB-28F1-9B2E-88F7D3EE2C86}"/>
              </a:ext>
            </a:extLst>
          </p:cNvPr>
          <p:cNvSpPr txBox="1"/>
          <p:nvPr/>
        </p:nvSpPr>
        <p:spPr>
          <a:xfrm>
            <a:off x="3091286" y="5400790"/>
            <a:ext cx="1169903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00"/>
              <a:t>Extraction &amp; contractual obligations management</a:t>
            </a: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6414736A-55AA-8661-EC86-A3D7A12CF581}"/>
              </a:ext>
            </a:extLst>
          </p:cNvPr>
          <p:cNvSpPr/>
          <p:nvPr/>
        </p:nvSpPr>
        <p:spPr>
          <a:xfrm>
            <a:off x="8254999" y="368439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3</a:t>
            </a: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E5470171-367B-29D3-CB51-ECF043A885BC}"/>
              </a:ext>
            </a:extLst>
          </p:cNvPr>
          <p:cNvSpPr txBox="1"/>
          <p:nvPr/>
        </p:nvSpPr>
        <p:spPr>
          <a:xfrm>
            <a:off x="8456593" y="3646294"/>
            <a:ext cx="1116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Co-Pilot for requisitioners regarding guided buying</a:t>
            </a:r>
          </a:p>
        </p:txBody>
      </p:sp>
      <p:sp>
        <p:nvSpPr>
          <p:cNvPr id="97" name="Ellipse 96">
            <a:extLst>
              <a:ext uri="{FF2B5EF4-FFF2-40B4-BE49-F238E27FC236}">
                <a16:creationId xmlns:a16="http://schemas.microsoft.com/office/drawing/2014/main" id="{203DDBC1-1C0D-FB30-F916-0A15AB5AFEE0}"/>
              </a:ext>
            </a:extLst>
          </p:cNvPr>
          <p:cNvSpPr/>
          <p:nvPr/>
        </p:nvSpPr>
        <p:spPr>
          <a:xfrm>
            <a:off x="8254999" y="441338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4</a:t>
            </a: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8C1F7122-4732-6790-580C-1B83037E95B9}"/>
              </a:ext>
            </a:extLst>
          </p:cNvPr>
          <p:cNvSpPr txBox="1"/>
          <p:nvPr/>
        </p:nvSpPr>
        <p:spPr>
          <a:xfrm>
            <a:off x="8456593" y="4375288"/>
            <a:ext cx="11164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nomous Procurement of spare parts</a:t>
            </a:r>
          </a:p>
        </p:txBody>
      </p:sp>
      <p:sp>
        <p:nvSpPr>
          <p:cNvPr id="135" name="Ellipse 134">
            <a:extLst>
              <a:ext uri="{FF2B5EF4-FFF2-40B4-BE49-F238E27FC236}">
                <a16:creationId xmlns:a16="http://schemas.microsoft.com/office/drawing/2014/main" id="{162762DA-9341-72E7-02B9-A149AC357A6C}"/>
              </a:ext>
            </a:extLst>
          </p:cNvPr>
          <p:cNvSpPr/>
          <p:nvPr/>
        </p:nvSpPr>
        <p:spPr>
          <a:xfrm>
            <a:off x="8254999" y="4968217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5</a:t>
            </a: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504BC258-8D85-138F-0E6D-6E8F6647F69F}"/>
              </a:ext>
            </a:extLst>
          </p:cNvPr>
          <p:cNvSpPr txBox="1"/>
          <p:nvPr/>
        </p:nvSpPr>
        <p:spPr>
          <a:xfrm>
            <a:off x="8456593" y="4930117"/>
            <a:ext cx="11164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Predictive demand forecasting</a:t>
            </a:r>
          </a:p>
        </p:txBody>
      </p:sp>
      <p:sp>
        <p:nvSpPr>
          <p:cNvPr id="99" name="Ellipse 98">
            <a:extLst>
              <a:ext uri="{FF2B5EF4-FFF2-40B4-BE49-F238E27FC236}">
                <a16:creationId xmlns:a16="http://schemas.microsoft.com/office/drawing/2014/main" id="{BF645AF9-0D0A-4E13-425A-44C06AE97AC1}"/>
              </a:ext>
            </a:extLst>
          </p:cNvPr>
          <p:cNvSpPr/>
          <p:nvPr/>
        </p:nvSpPr>
        <p:spPr>
          <a:xfrm>
            <a:off x="9562683" y="3677593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6</a:t>
            </a: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6DD76EE8-6F22-45A1-EA21-E2A21C3558AB}"/>
              </a:ext>
            </a:extLst>
          </p:cNvPr>
          <p:cNvSpPr txBox="1"/>
          <p:nvPr/>
        </p:nvSpPr>
        <p:spPr>
          <a:xfrm>
            <a:off x="9759588" y="3639493"/>
            <a:ext cx="1116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P Invoice Automation</a:t>
            </a:r>
          </a:p>
        </p:txBody>
      </p:sp>
      <p:sp>
        <p:nvSpPr>
          <p:cNvPr id="115" name="Ellipse 114">
            <a:extLst>
              <a:ext uri="{FF2B5EF4-FFF2-40B4-BE49-F238E27FC236}">
                <a16:creationId xmlns:a16="http://schemas.microsoft.com/office/drawing/2014/main" id="{8C037390-FD0D-933B-D75B-4EEE1152AC3C}"/>
              </a:ext>
            </a:extLst>
          </p:cNvPr>
          <p:cNvSpPr/>
          <p:nvPr/>
        </p:nvSpPr>
        <p:spPr>
          <a:xfrm>
            <a:off x="9562683" y="4142922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7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ED30FA76-DE22-D41D-D795-DED34B5EABD7}"/>
              </a:ext>
            </a:extLst>
          </p:cNvPr>
          <p:cNvSpPr txBox="1"/>
          <p:nvPr/>
        </p:nvSpPr>
        <p:spPr>
          <a:xfrm>
            <a:off x="9759588" y="4104822"/>
            <a:ext cx="11164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NLP to Invoice</a:t>
            </a:r>
          </a:p>
        </p:txBody>
      </p:sp>
      <p:sp>
        <p:nvSpPr>
          <p:cNvPr id="137" name="Ellipse 136">
            <a:extLst>
              <a:ext uri="{FF2B5EF4-FFF2-40B4-BE49-F238E27FC236}">
                <a16:creationId xmlns:a16="http://schemas.microsoft.com/office/drawing/2014/main" id="{77764A1C-D152-C285-438B-B0E61C811B68}"/>
              </a:ext>
            </a:extLst>
          </p:cNvPr>
          <p:cNvSpPr/>
          <p:nvPr/>
        </p:nvSpPr>
        <p:spPr>
          <a:xfrm>
            <a:off x="9562683" y="448617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8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7832C4BA-66AB-D3BA-4BC3-A9E0EFB4B7D6}"/>
              </a:ext>
            </a:extLst>
          </p:cNvPr>
          <p:cNvSpPr txBox="1"/>
          <p:nvPr/>
        </p:nvSpPr>
        <p:spPr>
          <a:xfrm>
            <a:off x="9768966" y="4448071"/>
            <a:ext cx="11164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I-assisted invoice dispute management</a:t>
            </a:r>
          </a:p>
        </p:txBody>
      </p:sp>
      <p:sp>
        <p:nvSpPr>
          <p:cNvPr id="139" name="Ellipse 138">
            <a:extLst>
              <a:ext uri="{FF2B5EF4-FFF2-40B4-BE49-F238E27FC236}">
                <a16:creationId xmlns:a16="http://schemas.microsoft.com/office/drawing/2014/main" id="{6B72986C-9B22-3FF1-79A2-C26F5C9987F8}"/>
              </a:ext>
            </a:extLst>
          </p:cNvPr>
          <p:cNvSpPr/>
          <p:nvPr/>
        </p:nvSpPr>
        <p:spPr>
          <a:xfrm>
            <a:off x="10265366" y="976034"/>
            <a:ext cx="108000" cy="108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EED68141-5961-DA69-1616-B95DA3C05361}"/>
              </a:ext>
            </a:extLst>
          </p:cNvPr>
          <p:cNvSpPr txBox="1"/>
          <p:nvPr/>
        </p:nvSpPr>
        <p:spPr>
          <a:xfrm>
            <a:off x="10363552" y="904740"/>
            <a:ext cx="17210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err="1"/>
              <a:t>Usage</a:t>
            </a:r>
            <a:r>
              <a:rPr lang="de-DE" sz="1000"/>
              <a:t> </a:t>
            </a:r>
            <a:r>
              <a:rPr lang="de-DE" sz="1000" err="1"/>
              <a:t>of</a:t>
            </a:r>
            <a:r>
              <a:rPr lang="de-DE" sz="1000"/>
              <a:t> (Gen)AI</a:t>
            </a:r>
          </a:p>
        </p:txBody>
      </p:sp>
      <p:sp>
        <p:nvSpPr>
          <p:cNvPr id="141" name="Ellipse 140">
            <a:extLst>
              <a:ext uri="{FF2B5EF4-FFF2-40B4-BE49-F238E27FC236}">
                <a16:creationId xmlns:a16="http://schemas.microsoft.com/office/drawing/2014/main" id="{69E07879-97CB-12F1-F306-8C1874527F48}"/>
              </a:ext>
            </a:extLst>
          </p:cNvPr>
          <p:cNvSpPr/>
          <p:nvPr/>
        </p:nvSpPr>
        <p:spPr>
          <a:xfrm>
            <a:off x="10263646" y="1167549"/>
            <a:ext cx="108000" cy="108000"/>
          </a:xfrm>
          <a:prstGeom prst="ellipse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723C5FCB-1DA8-4896-E2A5-8E31E2B48CD7}"/>
              </a:ext>
            </a:extLst>
          </p:cNvPr>
          <p:cNvSpPr txBox="1"/>
          <p:nvPr/>
        </p:nvSpPr>
        <p:spPr>
          <a:xfrm>
            <a:off x="10361832" y="1096255"/>
            <a:ext cx="18301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err="1"/>
              <a:t>Envisioned</a:t>
            </a:r>
            <a:r>
              <a:rPr lang="de-DE" sz="1000"/>
              <a:t> </a:t>
            </a:r>
            <a:r>
              <a:rPr lang="de-DE" sz="1000" err="1"/>
              <a:t>improvements</a:t>
            </a:r>
            <a:r>
              <a:rPr lang="de-DE" sz="1000"/>
              <a:t> </a:t>
            </a:r>
          </a:p>
          <a:p>
            <a:r>
              <a:rPr lang="de-DE" sz="1000" err="1"/>
              <a:t>over</a:t>
            </a:r>
            <a:r>
              <a:rPr lang="de-DE" sz="1000"/>
              <a:t> </a:t>
            </a:r>
            <a:r>
              <a:rPr lang="de-DE" sz="1000" err="1"/>
              <a:t>the</a:t>
            </a:r>
            <a:r>
              <a:rPr lang="de-DE" sz="1000"/>
              <a:t> </a:t>
            </a:r>
            <a:r>
              <a:rPr lang="de-DE" sz="1000" err="1"/>
              <a:t>next</a:t>
            </a:r>
            <a:r>
              <a:rPr lang="de-DE" sz="1000"/>
              <a:t> 12-18 </a:t>
            </a:r>
            <a:r>
              <a:rPr lang="de-DE" sz="1000" err="1"/>
              <a:t>months</a:t>
            </a:r>
            <a:r>
              <a:rPr lang="de-DE" sz="1000"/>
              <a:t> 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D6D85B-0AC8-CC46-3DD2-6275434605E8}"/>
              </a:ext>
            </a:extLst>
          </p:cNvPr>
          <p:cNvSpPr/>
          <p:nvPr/>
        </p:nvSpPr>
        <p:spPr>
          <a:xfrm>
            <a:off x="2875843" y="6174855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7A01D-3904-CD30-54DF-4EB7B6A2B2CC}"/>
              </a:ext>
            </a:extLst>
          </p:cNvPr>
          <p:cNvSpPr txBox="1"/>
          <p:nvPr/>
        </p:nvSpPr>
        <p:spPr>
          <a:xfrm>
            <a:off x="3077019" y="6143876"/>
            <a:ext cx="1169903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00"/>
              <a:t>Risk Assessment &amp; Co-Authoring</a:t>
            </a:r>
          </a:p>
        </p:txBody>
      </p:sp>
    </p:spTree>
    <p:extLst>
      <p:ext uri="{BB962C8B-B14F-4D97-AF65-F5344CB8AC3E}">
        <p14:creationId xmlns:p14="http://schemas.microsoft.com/office/powerpoint/2010/main" val="4138139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10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10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10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10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10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10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10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10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10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10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10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10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10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10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10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10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10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9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0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4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7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8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1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5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6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9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0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3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4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7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8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1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2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6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9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3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4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1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6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9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0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3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4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7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8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1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2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6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9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0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4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7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8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1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2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5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6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0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3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4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7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8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1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5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6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9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0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3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4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7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8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1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0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3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4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7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8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1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2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5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6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9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3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4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7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8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1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2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5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6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/>
      <p:bldP spid="73" grpId="0" animBg="1"/>
      <p:bldP spid="74" grpId="0"/>
      <p:bldP spid="79" grpId="0" animBg="1"/>
      <p:bldP spid="83" grpId="0" animBg="1"/>
      <p:bldP spid="84" grpId="0"/>
      <p:bldP spid="75" grpId="0" animBg="1"/>
      <p:bldP spid="76" grpId="0"/>
      <p:bldP spid="101" grpId="0" animBg="1"/>
      <p:bldP spid="102" grpId="0"/>
      <p:bldP spid="103" grpId="0" animBg="1"/>
      <p:bldP spid="104" grpId="0"/>
      <p:bldP spid="107" grpId="0" animBg="1"/>
      <p:bldP spid="108" grpId="0"/>
      <p:bldP spid="109" grpId="0" animBg="1"/>
      <p:bldP spid="110" grpId="0"/>
      <p:bldP spid="111" grpId="0" animBg="1"/>
      <p:bldP spid="112" grpId="0"/>
      <p:bldP spid="113" grpId="0" animBg="1"/>
      <p:bldP spid="114" grpId="0"/>
      <p:bldP spid="91" grpId="0" animBg="1"/>
      <p:bldP spid="92" grpId="0"/>
      <p:bldP spid="117" grpId="0" animBg="1"/>
      <p:bldP spid="118" grpId="0"/>
      <p:bldP spid="119" grpId="0" animBg="1"/>
      <p:bldP spid="120" grpId="0"/>
      <p:bldP spid="121" grpId="0" animBg="1"/>
      <p:bldP spid="122" grpId="0"/>
      <p:bldP spid="87" grpId="0" animBg="1"/>
      <p:bldP spid="88" grpId="0"/>
      <p:bldP spid="89" grpId="0" animBg="1"/>
      <p:bldP spid="90" grpId="0"/>
      <p:bldP spid="93" grpId="0" animBg="1"/>
      <p:bldP spid="94" grpId="0"/>
      <p:bldP spid="123" grpId="0" animBg="1"/>
      <p:bldP spid="124" grpId="0"/>
      <p:bldP spid="127" grpId="0" animBg="1"/>
      <p:bldP spid="128" grpId="0"/>
      <p:bldP spid="81" grpId="0" animBg="1"/>
      <p:bldP spid="82" grpId="0"/>
      <p:bldP spid="105" grpId="0" animBg="1"/>
      <p:bldP spid="106" grpId="0"/>
      <p:bldP spid="129" grpId="0" animBg="1"/>
      <p:bldP spid="130" grpId="0"/>
      <p:bldP spid="77" grpId="0" animBg="1"/>
      <p:bldP spid="78" grpId="0" animBg="1"/>
      <p:bldP spid="95" grpId="0" animBg="1"/>
      <p:bldP spid="96" grpId="0"/>
      <p:bldP spid="131" grpId="0" animBg="1"/>
      <p:bldP spid="132" grpId="0"/>
      <p:bldP spid="133" grpId="0" animBg="1"/>
      <p:bldP spid="134" grpId="0"/>
      <p:bldP spid="85" grpId="0" animBg="1"/>
      <p:bldP spid="86" grpId="0"/>
      <p:bldP spid="97" grpId="0" animBg="1"/>
      <p:bldP spid="98" grpId="0"/>
      <p:bldP spid="135" grpId="0" animBg="1"/>
      <p:bldP spid="136" grpId="0"/>
      <p:bldP spid="99" grpId="0" animBg="1"/>
      <p:bldP spid="100" grpId="0"/>
      <p:bldP spid="115" grpId="0" animBg="1"/>
      <p:bldP spid="116" grpId="0"/>
      <p:bldP spid="137" grpId="0" animBg="1"/>
      <p:bldP spid="138" grpId="0"/>
      <p:bldP spid="139" grpId="0" animBg="1"/>
      <p:bldP spid="140" grpId="0"/>
      <p:bldP spid="141" grpId="0" animBg="1"/>
      <p:bldP spid="142" grpId="0"/>
      <p:bldP spid="9" grpId="0" animBg="1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D70CE87-3821-BB3F-77E1-14A794211B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(Our view on value-driven use cases in procuremen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463E427-EAFF-A5E9-6A67-0DF41E88034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509481"/>
            <a:ext cx="10944225" cy="369334"/>
          </a:xfrm>
        </p:spPr>
        <p:txBody>
          <a:bodyPr/>
          <a:lstStyle/>
          <a:p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What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are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the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Use Cases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showing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most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Potential for Procurement?</a:t>
            </a:r>
            <a:endParaRPr lang="de-DE"/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2D1EC1C4-15BD-7768-7C31-0FAACE580FC9}"/>
              </a:ext>
            </a:extLst>
          </p:cNvPr>
          <p:cNvCxnSpPr>
            <a:cxnSpLocks/>
          </p:cNvCxnSpPr>
          <p:nvPr/>
        </p:nvCxnSpPr>
        <p:spPr>
          <a:xfrm flipV="1">
            <a:off x="609600" y="1495425"/>
            <a:ext cx="0" cy="4467225"/>
          </a:xfrm>
          <a:prstGeom prst="straightConnector1">
            <a:avLst/>
          </a:prstGeom>
          <a:ln w="12700">
            <a:solidFill>
              <a:srgbClr val="B7B1A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6BBDC794-5123-705B-8C9D-427BEB25E6F3}"/>
              </a:ext>
            </a:extLst>
          </p:cNvPr>
          <p:cNvCxnSpPr/>
          <p:nvPr/>
        </p:nvCxnSpPr>
        <p:spPr>
          <a:xfrm>
            <a:off x="614363" y="5962650"/>
            <a:ext cx="5634037" cy="0"/>
          </a:xfrm>
          <a:prstGeom prst="straightConnector1">
            <a:avLst/>
          </a:prstGeom>
          <a:ln w="12700">
            <a:solidFill>
              <a:srgbClr val="B7B1A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4B17AC3A-3BD9-3762-45C8-56627BF68917}"/>
              </a:ext>
            </a:extLst>
          </p:cNvPr>
          <p:cNvSpPr txBox="1"/>
          <p:nvPr/>
        </p:nvSpPr>
        <p:spPr>
          <a:xfrm rot="16200000">
            <a:off x="117122" y="3181350"/>
            <a:ext cx="658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/>
              <a:t>VALU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BC433CA-B3DD-1D2D-624C-B9807F0C6710}"/>
              </a:ext>
            </a:extLst>
          </p:cNvPr>
          <p:cNvSpPr txBox="1"/>
          <p:nvPr/>
        </p:nvSpPr>
        <p:spPr>
          <a:xfrm>
            <a:off x="3102316" y="6019800"/>
            <a:ext cx="10227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/>
              <a:t>FEASIBILITY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98E52A0-E6A5-406F-42BE-6BC313541BC7}"/>
              </a:ext>
            </a:extLst>
          </p:cNvPr>
          <p:cNvSpPr/>
          <p:nvPr/>
        </p:nvSpPr>
        <p:spPr>
          <a:xfrm>
            <a:off x="647700" y="4286250"/>
            <a:ext cx="5553074" cy="1638292"/>
          </a:xfrm>
          <a:prstGeom prst="rect">
            <a:avLst/>
          </a:prstGeom>
          <a:solidFill>
            <a:srgbClr val="EAEA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D07AFA7-3B4E-3840-2F38-790A21567103}"/>
              </a:ext>
            </a:extLst>
          </p:cNvPr>
          <p:cNvSpPr/>
          <p:nvPr/>
        </p:nvSpPr>
        <p:spPr>
          <a:xfrm>
            <a:off x="2933702" y="1452562"/>
            <a:ext cx="3267072" cy="28289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DB049A9-F598-2364-9C55-140633E08888}"/>
              </a:ext>
            </a:extLst>
          </p:cNvPr>
          <p:cNvSpPr/>
          <p:nvPr/>
        </p:nvSpPr>
        <p:spPr>
          <a:xfrm>
            <a:off x="657226" y="1452562"/>
            <a:ext cx="2266949" cy="2828917"/>
          </a:xfrm>
          <a:prstGeom prst="rect">
            <a:avLst/>
          </a:prstGeom>
          <a:solidFill>
            <a:srgbClr val="F0D6FE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3540545B-65C8-8B9D-6E72-CA965414D753}"/>
              </a:ext>
            </a:extLst>
          </p:cNvPr>
          <p:cNvSpPr/>
          <p:nvPr/>
        </p:nvSpPr>
        <p:spPr>
          <a:xfrm>
            <a:off x="6504474" y="1204912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24176BC-E758-A8D9-7BD7-79F2952EB82B}"/>
              </a:ext>
            </a:extLst>
          </p:cNvPr>
          <p:cNvSpPr txBox="1"/>
          <p:nvPr/>
        </p:nvSpPr>
        <p:spPr>
          <a:xfrm>
            <a:off x="6715593" y="1166812"/>
            <a:ext cx="264748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Complex analysis of sourcing events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65FCDD8D-5665-B774-AEB2-637338D2FC69}"/>
              </a:ext>
            </a:extLst>
          </p:cNvPr>
          <p:cNvSpPr/>
          <p:nvPr/>
        </p:nvSpPr>
        <p:spPr>
          <a:xfrm>
            <a:off x="5017052" y="324523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153A5BCA-70B8-090D-083B-EE1CAB7F3D16}"/>
              </a:ext>
            </a:extLst>
          </p:cNvPr>
          <p:cNvSpPr txBox="1"/>
          <p:nvPr/>
        </p:nvSpPr>
        <p:spPr>
          <a:xfrm>
            <a:off x="6715593" y="1391169"/>
            <a:ext cx="264748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Sourcing bot for index-based prices, using forecast and other data sources to suggest right time to source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5264A835-3942-004E-F0DF-04BD7F13F902}"/>
              </a:ext>
            </a:extLst>
          </p:cNvPr>
          <p:cNvSpPr/>
          <p:nvPr/>
        </p:nvSpPr>
        <p:spPr>
          <a:xfrm>
            <a:off x="6504475" y="144606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CB86FBD5-1416-A194-7549-87C30CEFEFEA}"/>
              </a:ext>
            </a:extLst>
          </p:cNvPr>
          <p:cNvSpPr/>
          <p:nvPr/>
        </p:nvSpPr>
        <p:spPr>
          <a:xfrm>
            <a:off x="3573527" y="3148775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007FE66A-06BF-98D6-FD70-E315DD457DF2}"/>
              </a:ext>
            </a:extLst>
          </p:cNvPr>
          <p:cNvSpPr/>
          <p:nvPr/>
        </p:nvSpPr>
        <p:spPr>
          <a:xfrm>
            <a:off x="6504475" y="1940363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E1EDBE1C-C44F-2275-3C4C-9CEB135F20C9}"/>
              </a:ext>
            </a:extLst>
          </p:cNvPr>
          <p:cNvSpPr txBox="1"/>
          <p:nvPr/>
        </p:nvSpPr>
        <p:spPr>
          <a:xfrm>
            <a:off x="6715592" y="1885471"/>
            <a:ext cx="26474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Savings generation by finding similar material with AI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2E87C67E-C031-FBED-3E7E-7A044BD899B6}"/>
              </a:ext>
            </a:extLst>
          </p:cNvPr>
          <p:cNvSpPr/>
          <p:nvPr/>
        </p:nvSpPr>
        <p:spPr>
          <a:xfrm>
            <a:off x="4707912" y="1789525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6D498DEF-E2CD-17D8-1844-DE52DA132174}"/>
              </a:ext>
            </a:extLst>
          </p:cNvPr>
          <p:cNvSpPr/>
          <p:nvPr/>
        </p:nvSpPr>
        <p:spPr>
          <a:xfrm>
            <a:off x="6504474" y="224055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523263B-5957-592D-09D0-841B75CD3A13}"/>
              </a:ext>
            </a:extLst>
          </p:cNvPr>
          <p:cNvSpPr txBox="1"/>
          <p:nvPr/>
        </p:nvSpPr>
        <p:spPr>
          <a:xfrm>
            <a:off x="6715683" y="2202454"/>
            <a:ext cx="26473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err="1"/>
              <a:t>Understand</a:t>
            </a:r>
            <a:r>
              <a:rPr lang="de-DE" sz="1000"/>
              <a:t> and score open-text </a:t>
            </a:r>
            <a:r>
              <a:rPr lang="de-DE" sz="1000" err="1"/>
              <a:t>feedback</a:t>
            </a:r>
            <a:r>
              <a:rPr lang="de-DE" sz="1000"/>
              <a:t> on supplier </a:t>
            </a:r>
            <a:r>
              <a:rPr lang="de-DE" sz="1000" err="1"/>
              <a:t>questionnaires</a:t>
            </a:r>
            <a:endParaRPr lang="de-DE" sz="100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51ECD02B-BB73-851C-FDB9-D9E67D46098A}"/>
              </a:ext>
            </a:extLst>
          </p:cNvPr>
          <p:cNvSpPr/>
          <p:nvPr/>
        </p:nvSpPr>
        <p:spPr>
          <a:xfrm>
            <a:off x="4387238" y="378630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978721F0-43AB-A89F-4E57-F4F931265B35}"/>
              </a:ext>
            </a:extLst>
          </p:cNvPr>
          <p:cNvSpPr/>
          <p:nvPr/>
        </p:nvSpPr>
        <p:spPr>
          <a:xfrm>
            <a:off x="6504474" y="260060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D1015748-AACA-4EA0-01E1-DCDBFBAE24D4}"/>
              </a:ext>
            </a:extLst>
          </p:cNvPr>
          <p:cNvSpPr txBox="1"/>
          <p:nvPr/>
        </p:nvSpPr>
        <p:spPr>
          <a:xfrm>
            <a:off x="6715501" y="2562500"/>
            <a:ext cx="26473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Supplier n-tier mapping to model network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7DCBD413-0620-9142-BE40-91FE46E9168E}"/>
              </a:ext>
            </a:extLst>
          </p:cNvPr>
          <p:cNvSpPr/>
          <p:nvPr/>
        </p:nvSpPr>
        <p:spPr>
          <a:xfrm>
            <a:off x="2510439" y="358859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E8206901-1F83-39B1-79B9-992224688D34}"/>
              </a:ext>
            </a:extLst>
          </p:cNvPr>
          <p:cNvSpPr/>
          <p:nvPr/>
        </p:nvSpPr>
        <p:spPr>
          <a:xfrm>
            <a:off x="6504473" y="285992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F8D22DA-2F01-30E9-A2EB-180D9309AE0C}"/>
              </a:ext>
            </a:extLst>
          </p:cNvPr>
          <p:cNvSpPr txBox="1"/>
          <p:nvPr/>
        </p:nvSpPr>
        <p:spPr>
          <a:xfrm>
            <a:off x="6715500" y="2821828"/>
            <a:ext cx="26473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AI-</a:t>
            </a:r>
            <a:r>
              <a:rPr lang="de-DE" sz="1000" err="1"/>
              <a:t>based</a:t>
            </a:r>
            <a:r>
              <a:rPr lang="de-DE" sz="1000"/>
              <a:t> Supplier Performance </a:t>
            </a:r>
            <a:r>
              <a:rPr lang="de-DE" sz="1000" err="1"/>
              <a:t>control</a:t>
            </a:r>
            <a:endParaRPr lang="de-DE" sz="1000"/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7BEA1B37-3013-51B1-00FF-365E0F977FF1}"/>
              </a:ext>
            </a:extLst>
          </p:cNvPr>
          <p:cNvSpPr/>
          <p:nvPr/>
        </p:nvSpPr>
        <p:spPr>
          <a:xfrm>
            <a:off x="5053764" y="3658983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D3EAB4A3-2FDA-88EA-D74F-E8606560F151}"/>
              </a:ext>
            </a:extLst>
          </p:cNvPr>
          <p:cNvSpPr/>
          <p:nvPr/>
        </p:nvSpPr>
        <p:spPr>
          <a:xfrm>
            <a:off x="6504473" y="311389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313C90C7-A2E2-898E-EF9A-9D1DA82F3DE7}"/>
              </a:ext>
            </a:extLst>
          </p:cNvPr>
          <p:cNvSpPr txBox="1"/>
          <p:nvPr/>
        </p:nvSpPr>
        <p:spPr>
          <a:xfrm>
            <a:off x="6715591" y="3075791"/>
            <a:ext cx="26472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Data extraction, clause classification &amp; contract summarization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D9A49ADA-4015-647D-6D2F-8FF556DA69EE}"/>
              </a:ext>
            </a:extLst>
          </p:cNvPr>
          <p:cNvSpPr/>
          <p:nvPr/>
        </p:nvSpPr>
        <p:spPr>
          <a:xfrm>
            <a:off x="4035032" y="345609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61ED3996-DB85-F91C-C67D-765D34E48306}"/>
              </a:ext>
            </a:extLst>
          </p:cNvPr>
          <p:cNvSpPr/>
          <p:nvPr/>
        </p:nvSpPr>
        <p:spPr>
          <a:xfrm>
            <a:off x="6504473" y="346229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989D9372-BA7B-D189-0697-B28359BF9A06}"/>
              </a:ext>
            </a:extLst>
          </p:cNvPr>
          <p:cNvSpPr txBox="1"/>
          <p:nvPr/>
        </p:nvSpPr>
        <p:spPr>
          <a:xfrm>
            <a:off x="6715591" y="3424198"/>
            <a:ext cx="2647295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00"/>
              <a:t>AI-based document reading 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158D928F-D59B-AD2E-6469-646DBFB4F63B}"/>
              </a:ext>
            </a:extLst>
          </p:cNvPr>
          <p:cNvSpPr/>
          <p:nvPr/>
        </p:nvSpPr>
        <p:spPr>
          <a:xfrm>
            <a:off x="3817307" y="258183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94AD2C-8DB8-85D6-7B1B-4809A184FC00}"/>
              </a:ext>
            </a:extLst>
          </p:cNvPr>
          <p:cNvSpPr/>
          <p:nvPr/>
        </p:nvSpPr>
        <p:spPr>
          <a:xfrm>
            <a:off x="6504382" y="378343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5CC43B2D-54D5-A342-21F4-B138B20FC9BF}"/>
              </a:ext>
            </a:extLst>
          </p:cNvPr>
          <p:cNvSpPr txBox="1"/>
          <p:nvPr/>
        </p:nvSpPr>
        <p:spPr>
          <a:xfrm>
            <a:off x="6716164" y="3744754"/>
            <a:ext cx="2641788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00"/>
              <a:t>Semantic Search &amp; Contract Analysi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DBBB780A-69A7-E023-8A5C-14773BFA5606}"/>
              </a:ext>
            </a:extLst>
          </p:cNvPr>
          <p:cNvSpPr/>
          <p:nvPr/>
        </p:nvSpPr>
        <p:spPr>
          <a:xfrm>
            <a:off x="4794914" y="2521182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2D8DF1D7-0E95-C382-EA48-B4606868D87C}"/>
              </a:ext>
            </a:extLst>
          </p:cNvPr>
          <p:cNvSpPr/>
          <p:nvPr/>
        </p:nvSpPr>
        <p:spPr>
          <a:xfrm>
            <a:off x="6504382" y="403860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A308DF5-3813-B62C-3616-1E19DFB393D2}"/>
              </a:ext>
            </a:extLst>
          </p:cNvPr>
          <p:cNvSpPr txBox="1"/>
          <p:nvPr/>
        </p:nvSpPr>
        <p:spPr>
          <a:xfrm>
            <a:off x="6715500" y="3990975"/>
            <a:ext cx="2190375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00"/>
              <a:t>Extraction &amp; contractual obligations management</a:t>
            </a: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07A44DF-2FF2-413A-1910-8A10E7BB523D}"/>
              </a:ext>
            </a:extLst>
          </p:cNvPr>
          <p:cNvSpPr/>
          <p:nvPr/>
        </p:nvSpPr>
        <p:spPr>
          <a:xfrm>
            <a:off x="3102316" y="404910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548299BB-F387-0A5F-1F04-83CE4643BE78}"/>
              </a:ext>
            </a:extLst>
          </p:cNvPr>
          <p:cNvSpPr/>
          <p:nvPr/>
        </p:nvSpPr>
        <p:spPr>
          <a:xfrm>
            <a:off x="6504382" y="431280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8BD030A5-27AB-4941-8965-7CA3C4E9A834}"/>
              </a:ext>
            </a:extLst>
          </p:cNvPr>
          <p:cNvSpPr txBox="1"/>
          <p:nvPr/>
        </p:nvSpPr>
        <p:spPr>
          <a:xfrm>
            <a:off x="6719764" y="4274701"/>
            <a:ext cx="26431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N-tier supplier / supply chain risk to predict supply disruptions</a:t>
            </a: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8F8A45C3-43F1-4FFD-792A-A28F23CBF32B}"/>
              </a:ext>
            </a:extLst>
          </p:cNvPr>
          <p:cNvSpPr/>
          <p:nvPr/>
        </p:nvSpPr>
        <p:spPr>
          <a:xfrm>
            <a:off x="4654309" y="2797886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52F013B8-D26D-D52D-6772-BF1C2C9D1CCB}"/>
              </a:ext>
            </a:extLst>
          </p:cNvPr>
          <p:cNvSpPr/>
          <p:nvPr/>
        </p:nvSpPr>
        <p:spPr>
          <a:xfrm>
            <a:off x="6504382" y="4694869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9E27A5E9-A165-AD7A-9A5A-CB34E108B780}"/>
              </a:ext>
            </a:extLst>
          </p:cNvPr>
          <p:cNvSpPr txBox="1"/>
          <p:nvPr/>
        </p:nvSpPr>
        <p:spPr>
          <a:xfrm>
            <a:off x="6719765" y="4656769"/>
            <a:ext cx="2643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err="1"/>
              <a:t>GenAI</a:t>
            </a:r>
            <a:r>
              <a:rPr lang="en-US" sz="1000"/>
              <a:t>-created supplier risk profiles w/ market and real-time data</a:t>
            </a: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B8707407-8E0C-E7A4-15D0-16FD8649A6F4}"/>
              </a:ext>
            </a:extLst>
          </p:cNvPr>
          <p:cNvSpPr/>
          <p:nvPr/>
        </p:nvSpPr>
        <p:spPr>
          <a:xfrm>
            <a:off x="5454019" y="339964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C80B1FDD-11D0-24F6-F4E7-03AA8B484998}"/>
              </a:ext>
            </a:extLst>
          </p:cNvPr>
          <p:cNvSpPr/>
          <p:nvPr/>
        </p:nvSpPr>
        <p:spPr>
          <a:xfrm>
            <a:off x="6509516" y="5076437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3BD77186-1C1C-3224-9B44-54771522597D}"/>
              </a:ext>
            </a:extLst>
          </p:cNvPr>
          <p:cNvSpPr txBox="1"/>
          <p:nvPr/>
        </p:nvSpPr>
        <p:spPr>
          <a:xfrm>
            <a:off x="6716372" y="5038337"/>
            <a:ext cx="24657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Risk-based decision-making</a:t>
            </a:r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F2FB3865-0019-D860-44B2-50DB873DF078}"/>
              </a:ext>
            </a:extLst>
          </p:cNvPr>
          <p:cNvSpPr/>
          <p:nvPr/>
        </p:nvSpPr>
        <p:spPr>
          <a:xfrm>
            <a:off x="2238976" y="3910003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D4DECBB7-9761-5922-D861-D72E5978810D}"/>
              </a:ext>
            </a:extLst>
          </p:cNvPr>
          <p:cNvSpPr/>
          <p:nvPr/>
        </p:nvSpPr>
        <p:spPr>
          <a:xfrm>
            <a:off x="6505811" y="538873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01E3A4DB-2CED-2874-8780-937CD074FCC7}"/>
              </a:ext>
            </a:extLst>
          </p:cNvPr>
          <p:cNvSpPr txBox="1"/>
          <p:nvPr/>
        </p:nvSpPr>
        <p:spPr>
          <a:xfrm>
            <a:off x="6715499" y="5350638"/>
            <a:ext cx="26431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err="1"/>
              <a:t>GenAI</a:t>
            </a:r>
            <a:r>
              <a:rPr lang="en-US" sz="1000"/>
              <a:t>-driven Procurement Analytics</a:t>
            </a: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3A93A4F8-E739-5BA0-C201-AC0E54571819}"/>
              </a:ext>
            </a:extLst>
          </p:cNvPr>
          <p:cNvSpPr/>
          <p:nvPr/>
        </p:nvSpPr>
        <p:spPr>
          <a:xfrm>
            <a:off x="5233764" y="2560986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62078A35-652A-F672-398C-6119EC8F0B55}"/>
              </a:ext>
            </a:extLst>
          </p:cNvPr>
          <p:cNvSpPr/>
          <p:nvPr/>
        </p:nvSpPr>
        <p:spPr>
          <a:xfrm>
            <a:off x="6504382" y="5707685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5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89E25056-B3EE-96B5-2C5D-51A545855D39}"/>
              </a:ext>
            </a:extLst>
          </p:cNvPr>
          <p:cNvSpPr txBox="1"/>
          <p:nvPr/>
        </p:nvSpPr>
        <p:spPr>
          <a:xfrm>
            <a:off x="6714071" y="5669585"/>
            <a:ext cx="214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category mapping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11CC6649-49D4-73FB-33FC-492BC54DB97D}"/>
              </a:ext>
            </a:extLst>
          </p:cNvPr>
          <p:cNvSpPr/>
          <p:nvPr/>
        </p:nvSpPr>
        <p:spPr>
          <a:xfrm>
            <a:off x="4725148" y="309825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5</a:t>
            </a: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229DCF27-4BDB-3FE1-D4CC-B7CB883ADB61}"/>
              </a:ext>
            </a:extLst>
          </p:cNvPr>
          <p:cNvSpPr/>
          <p:nvPr/>
        </p:nvSpPr>
        <p:spPr>
          <a:xfrm>
            <a:off x="6511046" y="6010164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6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5625E358-F1FC-1E0B-8A36-15F33CD73FBB}"/>
              </a:ext>
            </a:extLst>
          </p:cNvPr>
          <p:cNvSpPr txBox="1"/>
          <p:nvPr/>
        </p:nvSpPr>
        <p:spPr>
          <a:xfrm>
            <a:off x="6714071" y="5972064"/>
            <a:ext cx="164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nomous data cleansing</a:t>
            </a: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27A82BA5-7C9C-D165-93CB-D481659BFAF3}"/>
              </a:ext>
            </a:extLst>
          </p:cNvPr>
          <p:cNvSpPr/>
          <p:nvPr/>
        </p:nvSpPr>
        <p:spPr>
          <a:xfrm>
            <a:off x="4239977" y="218455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6</a:t>
            </a: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4B616AD1-4F71-953A-7421-B7E77FC1A68E}"/>
              </a:ext>
            </a:extLst>
          </p:cNvPr>
          <p:cNvSpPr/>
          <p:nvPr/>
        </p:nvSpPr>
        <p:spPr>
          <a:xfrm>
            <a:off x="9544426" y="1204912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7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6D5EB5B-1E94-7917-A918-F78511C0087E}"/>
              </a:ext>
            </a:extLst>
          </p:cNvPr>
          <p:cNvSpPr txBox="1"/>
          <p:nvPr/>
        </p:nvSpPr>
        <p:spPr>
          <a:xfrm>
            <a:off x="9747451" y="1166812"/>
            <a:ext cx="229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Gen(AI)-suggested cost improvements</a:t>
            </a: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3BFAA5D6-44D4-096D-DCB3-34148BC86397}"/>
              </a:ext>
            </a:extLst>
          </p:cNvPr>
          <p:cNvSpPr/>
          <p:nvPr/>
        </p:nvSpPr>
        <p:spPr>
          <a:xfrm>
            <a:off x="2613110" y="298570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7</a:t>
            </a: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65983776-2631-49BC-EE8C-B834780402B3}"/>
              </a:ext>
            </a:extLst>
          </p:cNvPr>
          <p:cNvSpPr/>
          <p:nvPr/>
        </p:nvSpPr>
        <p:spPr>
          <a:xfrm>
            <a:off x="9545859" y="150156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8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2945B46A-7BE2-F246-AD46-26101605EF0B}"/>
              </a:ext>
            </a:extLst>
          </p:cNvPr>
          <p:cNvSpPr txBox="1"/>
          <p:nvPr/>
        </p:nvSpPr>
        <p:spPr>
          <a:xfrm>
            <a:off x="9748884" y="1463460"/>
            <a:ext cx="214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Tail Spend Categorization</a:t>
            </a: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8D0B3E5E-B209-0F29-40F5-1D1AF91FFED4}"/>
              </a:ext>
            </a:extLst>
          </p:cNvPr>
          <p:cNvSpPr/>
          <p:nvPr/>
        </p:nvSpPr>
        <p:spPr>
          <a:xfrm>
            <a:off x="4717941" y="3351143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8</a:t>
            </a: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4B743805-23EE-0766-0F8B-D80DB1DA3EA4}"/>
              </a:ext>
            </a:extLst>
          </p:cNvPr>
          <p:cNvSpPr/>
          <p:nvPr/>
        </p:nvSpPr>
        <p:spPr>
          <a:xfrm>
            <a:off x="9547290" y="1772982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9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6D0BC886-8B0D-8F38-8F0A-F8963E056FE9}"/>
              </a:ext>
            </a:extLst>
          </p:cNvPr>
          <p:cNvSpPr txBox="1"/>
          <p:nvPr/>
        </p:nvSpPr>
        <p:spPr>
          <a:xfrm>
            <a:off x="9748884" y="1734882"/>
            <a:ext cx="21432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data preparation for e.g. CSDDD and LKSG</a:t>
            </a:r>
          </a:p>
        </p:txBody>
      </p:sp>
      <p:sp>
        <p:nvSpPr>
          <p:cNvPr id="76" name="Ellipse 75">
            <a:extLst>
              <a:ext uri="{FF2B5EF4-FFF2-40B4-BE49-F238E27FC236}">
                <a16:creationId xmlns:a16="http://schemas.microsoft.com/office/drawing/2014/main" id="{7AE793B7-D6CD-D410-391A-4BF459D748B7}"/>
              </a:ext>
            </a:extLst>
          </p:cNvPr>
          <p:cNvSpPr/>
          <p:nvPr/>
        </p:nvSpPr>
        <p:spPr>
          <a:xfrm>
            <a:off x="4235808" y="2993853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9</a:t>
            </a: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F89C74BA-0EEF-D241-FCE2-A39DED551F4F}"/>
              </a:ext>
            </a:extLst>
          </p:cNvPr>
          <p:cNvSpPr/>
          <p:nvPr/>
        </p:nvSpPr>
        <p:spPr>
          <a:xfrm>
            <a:off x="9547290" y="2178045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0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60CE701B-199A-C5DF-DA8E-78452BD37616}"/>
              </a:ext>
            </a:extLst>
          </p:cNvPr>
          <p:cNvSpPr txBox="1"/>
          <p:nvPr/>
        </p:nvSpPr>
        <p:spPr>
          <a:xfrm>
            <a:off x="9748884" y="2139945"/>
            <a:ext cx="20479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I-based sustainability compliance monitoring</a:t>
            </a: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C26D9429-5CA5-9429-04E4-5B9DA5B681F8}"/>
              </a:ext>
            </a:extLst>
          </p:cNvPr>
          <p:cNvSpPr/>
          <p:nvPr/>
        </p:nvSpPr>
        <p:spPr>
          <a:xfrm>
            <a:off x="2690439" y="406419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0</a:t>
            </a: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1377E50C-4CBA-FB54-0831-506014D1D798}"/>
              </a:ext>
            </a:extLst>
          </p:cNvPr>
          <p:cNvSpPr/>
          <p:nvPr/>
        </p:nvSpPr>
        <p:spPr>
          <a:xfrm>
            <a:off x="9547290" y="2560563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1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122E86F8-F4D3-C937-E5BF-A22E8C9E9CEB}"/>
              </a:ext>
            </a:extLst>
          </p:cNvPr>
          <p:cNvSpPr txBox="1"/>
          <p:nvPr/>
        </p:nvSpPr>
        <p:spPr>
          <a:xfrm>
            <a:off x="9748884" y="2522463"/>
            <a:ext cx="20695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lternative materials based on CO2 Footprint</a:t>
            </a: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81892F48-C258-F4B2-711D-096097738DAB}"/>
              </a:ext>
            </a:extLst>
          </p:cNvPr>
          <p:cNvSpPr/>
          <p:nvPr/>
        </p:nvSpPr>
        <p:spPr>
          <a:xfrm>
            <a:off x="2838939" y="424419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1</a:t>
            </a: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6D1D55D3-BA53-97FE-EA96-0860656F9C19}"/>
              </a:ext>
            </a:extLst>
          </p:cNvPr>
          <p:cNvSpPr/>
          <p:nvPr/>
        </p:nvSpPr>
        <p:spPr>
          <a:xfrm>
            <a:off x="9547290" y="2873206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2</a:t>
            </a: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BE0A9BCF-AD6C-06EE-BE46-A1309E893F6C}"/>
              </a:ext>
            </a:extLst>
          </p:cNvPr>
          <p:cNvSpPr txBox="1"/>
          <p:nvPr/>
        </p:nvSpPr>
        <p:spPr>
          <a:xfrm>
            <a:off x="9748883" y="2835106"/>
            <a:ext cx="24385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Optimized shipping routes and -consolidation</a:t>
            </a: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7F261497-FB76-1F32-7A77-B1BE7B053359}"/>
              </a:ext>
            </a:extLst>
          </p:cNvPr>
          <p:cNvSpPr/>
          <p:nvPr/>
        </p:nvSpPr>
        <p:spPr>
          <a:xfrm>
            <a:off x="3393527" y="387630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2</a:t>
            </a:r>
          </a:p>
        </p:txBody>
      </p:sp>
      <p:sp>
        <p:nvSpPr>
          <p:cNvPr id="86" name="Ellipse 85">
            <a:extLst>
              <a:ext uri="{FF2B5EF4-FFF2-40B4-BE49-F238E27FC236}">
                <a16:creationId xmlns:a16="http://schemas.microsoft.com/office/drawing/2014/main" id="{B883982B-5B90-2288-5753-7403731413A2}"/>
              </a:ext>
            </a:extLst>
          </p:cNvPr>
          <p:cNvSpPr/>
          <p:nvPr/>
        </p:nvSpPr>
        <p:spPr>
          <a:xfrm>
            <a:off x="9547288" y="3253387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3</a:t>
            </a: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4B8AB076-4E3F-8932-EB86-425076AEF455}"/>
              </a:ext>
            </a:extLst>
          </p:cNvPr>
          <p:cNvSpPr txBox="1"/>
          <p:nvPr/>
        </p:nvSpPr>
        <p:spPr>
          <a:xfrm>
            <a:off x="9748882" y="3215287"/>
            <a:ext cx="20479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Co-Pilot for requisitioners regarding guided buying</a:t>
            </a:r>
          </a:p>
        </p:txBody>
      </p:sp>
      <p:sp>
        <p:nvSpPr>
          <p:cNvPr id="88" name="Ellipse 87">
            <a:extLst>
              <a:ext uri="{FF2B5EF4-FFF2-40B4-BE49-F238E27FC236}">
                <a16:creationId xmlns:a16="http://schemas.microsoft.com/office/drawing/2014/main" id="{F2352520-26FF-9DF9-F011-D980F7387CDC}"/>
              </a:ext>
            </a:extLst>
          </p:cNvPr>
          <p:cNvSpPr/>
          <p:nvPr/>
        </p:nvSpPr>
        <p:spPr>
          <a:xfrm>
            <a:off x="5143764" y="2134992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3</a:t>
            </a:r>
          </a:p>
        </p:txBody>
      </p:sp>
      <p:sp>
        <p:nvSpPr>
          <p:cNvPr id="89" name="Ellipse 88">
            <a:extLst>
              <a:ext uri="{FF2B5EF4-FFF2-40B4-BE49-F238E27FC236}">
                <a16:creationId xmlns:a16="http://schemas.microsoft.com/office/drawing/2014/main" id="{1AAB5F03-FBDC-441F-FB27-ED8028A89F62}"/>
              </a:ext>
            </a:extLst>
          </p:cNvPr>
          <p:cNvSpPr/>
          <p:nvPr/>
        </p:nvSpPr>
        <p:spPr>
          <a:xfrm>
            <a:off x="9545859" y="363356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4</a:t>
            </a: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C0BDE64A-B2EA-A745-F617-CB85CB1EA4C0}"/>
              </a:ext>
            </a:extLst>
          </p:cNvPr>
          <p:cNvSpPr txBox="1"/>
          <p:nvPr/>
        </p:nvSpPr>
        <p:spPr>
          <a:xfrm>
            <a:off x="9747453" y="3595468"/>
            <a:ext cx="20479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nomous Procurement of spare parts</a:t>
            </a: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09AC4F64-64B7-FBB8-CF3B-A6B3CB1C54B6}"/>
              </a:ext>
            </a:extLst>
          </p:cNvPr>
          <p:cNvSpPr/>
          <p:nvPr/>
        </p:nvSpPr>
        <p:spPr>
          <a:xfrm>
            <a:off x="9545859" y="3930435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5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CE765461-09D9-A25B-F866-25CEF7379CF0}"/>
              </a:ext>
            </a:extLst>
          </p:cNvPr>
          <p:cNvSpPr txBox="1"/>
          <p:nvPr/>
        </p:nvSpPr>
        <p:spPr>
          <a:xfrm>
            <a:off x="9747452" y="3892335"/>
            <a:ext cx="21432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Predictive demand forecasting</a:t>
            </a:r>
          </a:p>
        </p:txBody>
      </p:sp>
      <p:sp>
        <p:nvSpPr>
          <p:cNvPr id="94" name="Ellipse 93">
            <a:extLst>
              <a:ext uri="{FF2B5EF4-FFF2-40B4-BE49-F238E27FC236}">
                <a16:creationId xmlns:a16="http://schemas.microsoft.com/office/drawing/2014/main" id="{8ACD140B-FAC1-579E-6002-747E9FC1252F}"/>
              </a:ext>
            </a:extLst>
          </p:cNvPr>
          <p:cNvSpPr/>
          <p:nvPr/>
        </p:nvSpPr>
        <p:spPr>
          <a:xfrm>
            <a:off x="4121242" y="437770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5</a:t>
            </a:r>
          </a:p>
        </p:txBody>
      </p:sp>
      <p:sp>
        <p:nvSpPr>
          <p:cNvPr id="95" name="Ellipse 94">
            <a:extLst>
              <a:ext uri="{FF2B5EF4-FFF2-40B4-BE49-F238E27FC236}">
                <a16:creationId xmlns:a16="http://schemas.microsoft.com/office/drawing/2014/main" id="{39050286-725C-CAE7-80BF-BFACDB85B084}"/>
              </a:ext>
            </a:extLst>
          </p:cNvPr>
          <p:cNvSpPr/>
          <p:nvPr/>
        </p:nvSpPr>
        <p:spPr>
          <a:xfrm>
            <a:off x="9550547" y="422185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6</a:t>
            </a: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009EF171-2323-C991-D1EB-7DC6DDC21D18}"/>
              </a:ext>
            </a:extLst>
          </p:cNvPr>
          <p:cNvSpPr txBox="1"/>
          <p:nvPr/>
        </p:nvSpPr>
        <p:spPr>
          <a:xfrm>
            <a:off x="9747451" y="4183750"/>
            <a:ext cx="18303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P Invoice Automation</a:t>
            </a:r>
          </a:p>
        </p:txBody>
      </p:sp>
      <p:sp>
        <p:nvSpPr>
          <p:cNvPr id="97" name="Ellipse 96">
            <a:extLst>
              <a:ext uri="{FF2B5EF4-FFF2-40B4-BE49-F238E27FC236}">
                <a16:creationId xmlns:a16="http://schemas.microsoft.com/office/drawing/2014/main" id="{EA600A37-3345-EC0A-EE09-8899489AA8CA}"/>
              </a:ext>
            </a:extLst>
          </p:cNvPr>
          <p:cNvSpPr/>
          <p:nvPr/>
        </p:nvSpPr>
        <p:spPr>
          <a:xfrm>
            <a:off x="5560533" y="2667879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6</a:t>
            </a:r>
          </a:p>
        </p:txBody>
      </p:sp>
      <p:sp>
        <p:nvSpPr>
          <p:cNvPr id="98" name="Ellipse 97">
            <a:extLst>
              <a:ext uri="{FF2B5EF4-FFF2-40B4-BE49-F238E27FC236}">
                <a16:creationId xmlns:a16="http://schemas.microsoft.com/office/drawing/2014/main" id="{806FA9B8-4F09-8A8D-B3F5-1B50241EC9B2}"/>
              </a:ext>
            </a:extLst>
          </p:cNvPr>
          <p:cNvSpPr/>
          <p:nvPr/>
        </p:nvSpPr>
        <p:spPr>
          <a:xfrm>
            <a:off x="9550546" y="447892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7</a:t>
            </a: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4747483D-F958-4C3B-8510-762F39DFCF95}"/>
              </a:ext>
            </a:extLst>
          </p:cNvPr>
          <p:cNvSpPr txBox="1"/>
          <p:nvPr/>
        </p:nvSpPr>
        <p:spPr>
          <a:xfrm>
            <a:off x="9747451" y="4440820"/>
            <a:ext cx="11164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NLP to Invoice</a:t>
            </a:r>
          </a:p>
        </p:txBody>
      </p:sp>
      <p:sp>
        <p:nvSpPr>
          <p:cNvPr id="100" name="Ellipse 99">
            <a:extLst>
              <a:ext uri="{FF2B5EF4-FFF2-40B4-BE49-F238E27FC236}">
                <a16:creationId xmlns:a16="http://schemas.microsoft.com/office/drawing/2014/main" id="{C9911346-1A26-C8D3-5B4D-230714342225}"/>
              </a:ext>
            </a:extLst>
          </p:cNvPr>
          <p:cNvSpPr/>
          <p:nvPr/>
        </p:nvSpPr>
        <p:spPr>
          <a:xfrm>
            <a:off x="3541132" y="432435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7</a:t>
            </a:r>
          </a:p>
        </p:txBody>
      </p:sp>
      <p:sp>
        <p:nvSpPr>
          <p:cNvPr id="101" name="Ellipse 100">
            <a:extLst>
              <a:ext uri="{FF2B5EF4-FFF2-40B4-BE49-F238E27FC236}">
                <a16:creationId xmlns:a16="http://schemas.microsoft.com/office/drawing/2014/main" id="{F7971F6F-9659-0597-5ACA-3FBB0F291229}"/>
              </a:ext>
            </a:extLst>
          </p:cNvPr>
          <p:cNvSpPr/>
          <p:nvPr/>
        </p:nvSpPr>
        <p:spPr>
          <a:xfrm>
            <a:off x="9545859" y="4716217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8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5CAEA7D5-DE6F-0B1F-88D6-03F7A5D45A42}"/>
              </a:ext>
            </a:extLst>
          </p:cNvPr>
          <p:cNvSpPr txBox="1"/>
          <p:nvPr/>
        </p:nvSpPr>
        <p:spPr>
          <a:xfrm>
            <a:off x="9752142" y="4678117"/>
            <a:ext cx="2520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I-assisted invoice dispute management</a:t>
            </a:r>
          </a:p>
        </p:txBody>
      </p:sp>
      <p:sp>
        <p:nvSpPr>
          <p:cNvPr id="103" name="Ellipse 102">
            <a:extLst>
              <a:ext uri="{FF2B5EF4-FFF2-40B4-BE49-F238E27FC236}">
                <a16:creationId xmlns:a16="http://schemas.microsoft.com/office/drawing/2014/main" id="{1EBBCE49-FFA9-40C0-9C22-031AADE0103C}"/>
              </a:ext>
            </a:extLst>
          </p:cNvPr>
          <p:cNvSpPr/>
          <p:nvPr/>
        </p:nvSpPr>
        <p:spPr>
          <a:xfrm>
            <a:off x="3812500" y="454152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8</a:t>
            </a:r>
          </a:p>
        </p:txBody>
      </p:sp>
      <p:sp>
        <p:nvSpPr>
          <p:cNvPr id="104" name="Ellipse 103">
            <a:extLst>
              <a:ext uri="{FF2B5EF4-FFF2-40B4-BE49-F238E27FC236}">
                <a16:creationId xmlns:a16="http://schemas.microsoft.com/office/drawing/2014/main" id="{41276599-FE4A-D7DC-3AFF-9CBB44EA3707}"/>
              </a:ext>
            </a:extLst>
          </p:cNvPr>
          <p:cNvSpPr/>
          <p:nvPr/>
        </p:nvSpPr>
        <p:spPr>
          <a:xfrm>
            <a:off x="9545859" y="4982808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9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0A369BB5-5218-4BFE-5E76-5E97AD65C14D}"/>
              </a:ext>
            </a:extLst>
          </p:cNvPr>
          <p:cNvSpPr txBox="1"/>
          <p:nvPr/>
        </p:nvSpPr>
        <p:spPr>
          <a:xfrm>
            <a:off x="9748366" y="4944708"/>
            <a:ext cx="22961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err="1"/>
              <a:t>GenAI</a:t>
            </a:r>
            <a:r>
              <a:rPr lang="en-US" sz="1000"/>
              <a:t>-powered fraud detection and -prevention</a:t>
            </a:r>
          </a:p>
        </p:txBody>
      </p:sp>
      <p:sp>
        <p:nvSpPr>
          <p:cNvPr id="106" name="Ellipse 105">
            <a:extLst>
              <a:ext uri="{FF2B5EF4-FFF2-40B4-BE49-F238E27FC236}">
                <a16:creationId xmlns:a16="http://schemas.microsoft.com/office/drawing/2014/main" id="{F2CE19F8-EB2F-0FC5-F277-95B43326AC0B}"/>
              </a:ext>
            </a:extLst>
          </p:cNvPr>
          <p:cNvSpPr/>
          <p:nvPr/>
        </p:nvSpPr>
        <p:spPr>
          <a:xfrm>
            <a:off x="4371564" y="2479817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9</a:t>
            </a:r>
          </a:p>
        </p:txBody>
      </p:sp>
      <p:sp>
        <p:nvSpPr>
          <p:cNvPr id="107" name="Ellipse 106">
            <a:extLst>
              <a:ext uri="{FF2B5EF4-FFF2-40B4-BE49-F238E27FC236}">
                <a16:creationId xmlns:a16="http://schemas.microsoft.com/office/drawing/2014/main" id="{1E64A8D1-3F8B-F3FB-B873-D89C5C5D88FC}"/>
              </a:ext>
            </a:extLst>
          </p:cNvPr>
          <p:cNvSpPr/>
          <p:nvPr/>
        </p:nvSpPr>
        <p:spPr>
          <a:xfrm>
            <a:off x="9549634" y="5365466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0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16D0F203-41D8-7A14-D582-075F59E734EE}"/>
              </a:ext>
            </a:extLst>
          </p:cNvPr>
          <p:cNvSpPr txBox="1"/>
          <p:nvPr/>
        </p:nvSpPr>
        <p:spPr>
          <a:xfrm>
            <a:off x="9752142" y="5327366"/>
            <a:ext cx="18159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Intelligent payment routing</a:t>
            </a:r>
          </a:p>
        </p:txBody>
      </p:sp>
      <p:sp>
        <p:nvSpPr>
          <p:cNvPr id="109" name="Ellipse 108">
            <a:extLst>
              <a:ext uri="{FF2B5EF4-FFF2-40B4-BE49-F238E27FC236}">
                <a16:creationId xmlns:a16="http://schemas.microsoft.com/office/drawing/2014/main" id="{7AF9B579-2FC8-4A8E-5037-DAC979E927BA}"/>
              </a:ext>
            </a:extLst>
          </p:cNvPr>
          <p:cNvSpPr/>
          <p:nvPr/>
        </p:nvSpPr>
        <p:spPr>
          <a:xfrm>
            <a:off x="9544426" y="5620296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1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D31E2581-2573-1EC3-7BF0-E791F6B6C9B2}"/>
              </a:ext>
            </a:extLst>
          </p:cNvPr>
          <p:cNvSpPr txBox="1"/>
          <p:nvPr/>
        </p:nvSpPr>
        <p:spPr>
          <a:xfrm>
            <a:off x="9746933" y="5582196"/>
            <a:ext cx="18159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I-driven credit scoring</a:t>
            </a:r>
          </a:p>
        </p:txBody>
      </p:sp>
      <p:sp>
        <p:nvSpPr>
          <p:cNvPr id="111" name="Ellipse 110">
            <a:extLst>
              <a:ext uri="{FF2B5EF4-FFF2-40B4-BE49-F238E27FC236}">
                <a16:creationId xmlns:a16="http://schemas.microsoft.com/office/drawing/2014/main" id="{0B02DFC2-A23F-A8C9-2D5C-BD057A65AD04}"/>
              </a:ext>
            </a:extLst>
          </p:cNvPr>
          <p:cNvSpPr/>
          <p:nvPr/>
        </p:nvSpPr>
        <p:spPr>
          <a:xfrm>
            <a:off x="4965179" y="440280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0</a:t>
            </a:r>
          </a:p>
        </p:txBody>
      </p:sp>
      <p:sp>
        <p:nvSpPr>
          <p:cNvPr id="112" name="Ellipse 111">
            <a:extLst>
              <a:ext uri="{FF2B5EF4-FFF2-40B4-BE49-F238E27FC236}">
                <a16:creationId xmlns:a16="http://schemas.microsoft.com/office/drawing/2014/main" id="{86D925D3-632A-023E-31D9-0018B8BB0F97}"/>
              </a:ext>
            </a:extLst>
          </p:cNvPr>
          <p:cNvSpPr/>
          <p:nvPr/>
        </p:nvSpPr>
        <p:spPr>
          <a:xfrm>
            <a:off x="4594587" y="4161665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1</a:t>
            </a:r>
          </a:p>
        </p:txBody>
      </p:sp>
      <p:sp>
        <p:nvSpPr>
          <p:cNvPr id="113" name="Ellipse 112">
            <a:extLst>
              <a:ext uri="{FF2B5EF4-FFF2-40B4-BE49-F238E27FC236}">
                <a16:creationId xmlns:a16="http://schemas.microsoft.com/office/drawing/2014/main" id="{4EBBBC9D-B153-74DB-FDDF-D49E62B5771D}"/>
              </a:ext>
            </a:extLst>
          </p:cNvPr>
          <p:cNvSpPr/>
          <p:nvPr/>
        </p:nvSpPr>
        <p:spPr>
          <a:xfrm>
            <a:off x="9546770" y="5911650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2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B2385EA0-FB07-53C5-1BA5-3323D949463C}"/>
              </a:ext>
            </a:extLst>
          </p:cNvPr>
          <p:cNvSpPr txBox="1"/>
          <p:nvPr/>
        </p:nvSpPr>
        <p:spPr>
          <a:xfrm>
            <a:off x="9747451" y="5873550"/>
            <a:ext cx="19605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compliance checks</a:t>
            </a:r>
          </a:p>
        </p:txBody>
      </p:sp>
      <p:sp>
        <p:nvSpPr>
          <p:cNvPr id="115" name="Ellipse 114">
            <a:extLst>
              <a:ext uri="{FF2B5EF4-FFF2-40B4-BE49-F238E27FC236}">
                <a16:creationId xmlns:a16="http://schemas.microsoft.com/office/drawing/2014/main" id="{6B4D0DF3-E98F-B539-84B2-965399C5C7C5}"/>
              </a:ext>
            </a:extLst>
          </p:cNvPr>
          <p:cNvSpPr/>
          <p:nvPr/>
        </p:nvSpPr>
        <p:spPr>
          <a:xfrm>
            <a:off x="4078012" y="406419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2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A2FC93F0-32A2-95DE-C74B-4B65881DFDF1}"/>
              </a:ext>
            </a:extLst>
          </p:cNvPr>
          <p:cNvSpPr txBox="1"/>
          <p:nvPr/>
        </p:nvSpPr>
        <p:spPr>
          <a:xfrm>
            <a:off x="707334" y="1460512"/>
            <a:ext cx="13233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>
                <a:solidFill>
                  <a:schemeClr val="tx2"/>
                </a:solidFill>
              </a:rPr>
              <a:t>CALCULATED RISK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B8E34698-645D-67F8-D151-2B856E146214}"/>
              </a:ext>
            </a:extLst>
          </p:cNvPr>
          <p:cNvSpPr txBox="1"/>
          <p:nvPr/>
        </p:nvSpPr>
        <p:spPr>
          <a:xfrm>
            <a:off x="2955293" y="1460512"/>
            <a:ext cx="9742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>
                <a:solidFill>
                  <a:schemeClr val="bg2">
                    <a:lumMod val="50000"/>
                  </a:schemeClr>
                </a:solidFill>
              </a:rPr>
              <a:t>LIKELY WINS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86FDF819-C99A-82D9-6CCB-B68EA38D9AB1}"/>
              </a:ext>
            </a:extLst>
          </p:cNvPr>
          <p:cNvSpPr txBox="1"/>
          <p:nvPr/>
        </p:nvSpPr>
        <p:spPr>
          <a:xfrm>
            <a:off x="707334" y="5623739"/>
            <a:ext cx="1337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t>MARGINAL GAINS</a:t>
            </a: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6006A739-79AF-AD9D-C2E8-12F5C9A79C7B}"/>
              </a:ext>
            </a:extLst>
          </p:cNvPr>
          <p:cNvSpPr/>
          <p:nvPr/>
        </p:nvSpPr>
        <p:spPr>
          <a:xfrm>
            <a:off x="1262309" y="3163387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048416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245B32-F295-F2D8-E2E1-E81ADD53DE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CA2EEA0-CB30-D419-FD3B-B9B927DAED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Our view on value-driven use cases in procuremen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A818C1B-393D-BB1C-8852-2C55C66017C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509481"/>
            <a:ext cx="10944225" cy="369334"/>
          </a:xfrm>
        </p:spPr>
        <p:txBody>
          <a:bodyPr/>
          <a:lstStyle/>
          <a:p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What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are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the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Use Cases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showing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most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Potential for Procurement?</a:t>
            </a:r>
            <a:endParaRPr lang="de-DE"/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84C3CB7E-D874-E42D-CD45-0B40FBBD34CD}"/>
              </a:ext>
            </a:extLst>
          </p:cNvPr>
          <p:cNvCxnSpPr>
            <a:cxnSpLocks/>
          </p:cNvCxnSpPr>
          <p:nvPr/>
        </p:nvCxnSpPr>
        <p:spPr>
          <a:xfrm flipV="1">
            <a:off x="609600" y="1495425"/>
            <a:ext cx="0" cy="4467225"/>
          </a:xfrm>
          <a:prstGeom prst="straightConnector1">
            <a:avLst/>
          </a:prstGeom>
          <a:ln w="12700">
            <a:solidFill>
              <a:srgbClr val="B7B1A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D22C3A44-8790-07FF-E13B-9AB8D2E87B4D}"/>
              </a:ext>
            </a:extLst>
          </p:cNvPr>
          <p:cNvCxnSpPr/>
          <p:nvPr/>
        </p:nvCxnSpPr>
        <p:spPr>
          <a:xfrm>
            <a:off x="614363" y="5962650"/>
            <a:ext cx="5634037" cy="0"/>
          </a:xfrm>
          <a:prstGeom prst="straightConnector1">
            <a:avLst/>
          </a:prstGeom>
          <a:ln w="12700">
            <a:solidFill>
              <a:srgbClr val="B7B1A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15CE2CC1-B317-991D-A2AD-0A5D9961138E}"/>
              </a:ext>
            </a:extLst>
          </p:cNvPr>
          <p:cNvSpPr txBox="1"/>
          <p:nvPr/>
        </p:nvSpPr>
        <p:spPr>
          <a:xfrm rot="16200000">
            <a:off x="117122" y="3181350"/>
            <a:ext cx="658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/>
              <a:t>VALU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97A223D-065E-88D6-25E0-0A578F63B47E}"/>
              </a:ext>
            </a:extLst>
          </p:cNvPr>
          <p:cNvSpPr txBox="1"/>
          <p:nvPr/>
        </p:nvSpPr>
        <p:spPr>
          <a:xfrm>
            <a:off x="3102316" y="6019800"/>
            <a:ext cx="10227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/>
              <a:t>FEASIBILITY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F99707-39C2-EA17-1471-61D64CC76ED5}"/>
              </a:ext>
            </a:extLst>
          </p:cNvPr>
          <p:cNvSpPr/>
          <p:nvPr/>
        </p:nvSpPr>
        <p:spPr>
          <a:xfrm>
            <a:off x="647700" y="4286250"/>
            <a:ext cx="5553074" cy="1638292"/>
          </a:xfrm>
          <a:prstGeom prst="rect">
            <a:avLst/>
          </a:prstGeom>
          <a:solidFill>
            <a:srgbClr val="EAEA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D320A83-1F5B-328D-C77E-AA6262B92372}"/>
              </a:ext>
            </a:extLst>
          </p:cNvPr>
          <p:cNvSpPr/>
          <p:nvPr/>
        </p:nvSpPr>
        <p:spPr>
          <a:xfrm>
            <a:off x="2933702" y="1452562"/>
            <a:ext cx="3267072" cy="28289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CFEDD79-D1AA-4A34-F05D-ECCCF8C79832}"/>
              </a:ext>
            </a:extLst>
          </p:cNvPr>
          <p:cNvSpPr/>
          <p:nvPr/>
        </p:nvSpPr>
        <p:spPr>
          <a:xfrm>
            <a:off x="657226" y="1452562"/>
            <a:ext cx="2266949" cy="2828917"/>
          </a:xfrm>
          <a:prstGeom prst="rect">
            <a:avLst/>
          </a:prstGeom>
          <a:solidFill>
            <a:srgbClr val="F0D6FE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135768E6-E462-0E66-49EC-B60705EF94D9}"/>
              </a:ext>
            </a:extLst>
          </p:cNvPr>
          <p:cNvSpPr/>
          <p:nvPr/>
        </p:nvSpPr>
        <p:spPr>
          <a:xfrm>
            <a:off x="6504474" y="1204912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3A36928-2579-662F-EFED-4604085C9732}"/>
              </a:ext>
            </a:extLst>
          </p:cNvPr>
          <p:cNvSpPr txBox="1"/>
          <p:nvPr/>
        </p:nvSpPr>
        <p:spPr>
          <a:xfrm>
            <a:off x="6715593" y="1166812"/>
            <a:ext cx="264748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Complex analysis of sourcing events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B1CF1851-2017-40D7-583C-81880531C421}"/>
              </a:ext>
            </a:extLst>
          </p:cNvPr>
          <p:cNvSpPr/>
          <p:nvPr/>
        </p:nvSpPr>
        <p:spPr>
          <a:xfrm>
            <a:off x="5017052" y="3245238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D2C75A9-38DD-1729-6698-98E780D51C9B}"/>
              </a:ext>
            </a:extLst>
          </p:cNvPr>
          <p:cNvSpPr txBox="1"/>
          <p:nvPr/>
        </p:nvSpPr>
        <p:spPr>
          <a:xfrm>
            <a:off x="6715593" y="1391169"/>
            <a:ext cx="264748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Sourcing bot for index-based prices, using forecast and other data sources to suggest right time to source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2C1D5576-70B7-B7DE-BABF-30BEF49C8351}"/>
              </a:ext>
            </a:extLst>
          </p:cNvPr>
          <p:cNvSpPr/>
          <p:nvPr/>
        </p:nvSpPr>
        <p:spPr>
          <a:xfrm>
            <a:off x="6504475" y="144606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D4168287-F5BF-E371-DC61-EAC15E3BFAC1}"/>
              </a:ext>
            </a:extLst>
          </p:cNvPr>
          <p:cNvSpPr/>
          <p:nvPr/>
        </p:nvSpPr>
        <p:spPr>
          <a:xfrm>
            <a:off x="3573527" y="3148775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69AEA94-5EB1-86C6-01F1-BEEDF1E62446}"/>
              </a:ext>
            </a:extLst>
          </p:cNvPr>
          <p:cNvSpPr/>
          <p:nvPr/>
        </p:nvSpPr>
        <p:spPr>
          <a:xfrm>
            <a:off x="6504475" y="1940363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46EEF22-2AD0-2A96-E60C-42A14DFA87C6}"/>
              </a:ext>
            </a:extLst>
          </p:cNvPr>
          <p:cNvSpPr txBox="1"/>
          <p:nvPr/>
        </p:nvSpPr>
        <p:spPr>
          <a:xfrm>
            <a:off x="6715592" y="1885471"/>
            <a:ext cx="264748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tx2"/>
                </a:solidFill>
              </a:rPr>
              <a:t>Savings generation by finding similar material with AI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5518C1EB-501E-4CB4-7216-1F7EC3FBC813}"/>
              </a:ext>
            </a:extLst>
          </p:cNvPr>
          <p:cNvSpPr/>
          <p:nvPr/>
        </p:nvSpPr>
        <p:spPr>
          <a:xfrm>
            <a:off x="4707912" y="1789525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648C53B4-1A05-5DB1-CB36-DE4CB1BAFDD1}"/>
              </a:ext>
            </a:extLst>
          </p:cNvPr>
          <p:cNvSpPr/>
          <p:nvPr/>
        </p:nvSpPr>
        <p:spPr>
          <a:xfrm>
            <a:off x="6504474" y="2240554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30B74E3-1AD1-E47E-E2B5-0E9DA7263A48}"/>
              </a:ext>
            </a:extLst>
          </p:cNvPr>
          <p:cNvSpPr txBox="1"/>
          <p:nvPr/>
        </p:nvSpPr>
        <p:spPr>
          <a:xfrm>
            <a:off x="6715683" y="2202454"/>
            <a:ext cx="26473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err="1"/>
              <a:t>Understand</a:t>
            </a:r>
            <a:r>
              <a:rPr lang="de-DE" sz="1000"/>
              <a:t> and score open-text </a:t>
            </a:r>
            <a:r>
              <a:rPr lang="de-DE" sz="1000" err="1"/>
              <a:t>feedback</a:t>
            </a:r>
            <a:r>
              <a:rPr lang="de-DE" sz="1000"/>
              <a:t> on supplier </a:t>
            </a:r>
            <a:r>
              <a:rPr lang="de-DE" sz="1000" err="1"/>
              <a:t>questionnaires</a:t>
            </a:r>
            <a:endParaRPr lang="de-DE" sz="100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FBCBCA74-895A-A5B6-9D91-ACA4399D4622}"/>
              </a:ext>
            </a:extLst>
          </p:cNvPr>
          <p:cNvSpPr/>
          <p:nvPr/>
        </p:nvSpPr>
        <p:spPr>
          <a:xfrm>
            <a:off x="4387238" y="3786300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9924343B-6673-2529-704A-BA23A14DFB7C}"/>
              </a:ext>
            </a:extLst>
          </p:cNvPr>
          <p:cNvSpPr/>
          <p:nvPr/>
        </p:nvSpPr>
        <p:spPr>
          <a:xfrm>
            <a:off x="6504474" y="2600600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411BCC9B-A80C-B4CC-97A1-F89D69E8A7D2}"/>
              </a:ext>
            </a:extLst>
          </p:cNvPr>
          <p:cNvSpPr txBox="1"/>
          <p:nvPr/>
        </p:nvSpPr>
        <p:spPr>
          <a:xfrm>
            <a:off x="6715501" y="2562500"/>
            <a:ext cx="26473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Supplier n-tier mapping to model network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4DAA8067-7C4E-98F8-AA4E-53B04037530D}"/>
              </a:ext>
            </a:extLst>
          </p:cNvPr>
          <p:cNvSpPr/>
          <p:nvPr/>
        </p:nvSpPr>
        <p:spPr>
          <a:xfrm>
            <a:off x="2510439" y="3588590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4AD38850-F553-5FB0-3965-7AF2BBEE7E02}"/>
              </a:ext>
            </a:extLst>
          </p:cNvPr>
          <p:cNvSpPr/>
          <p:nvPr/>
        </p:nvSpPr>
        <p:spPr>
          <a:xfrm>
            <a:off x="6504473" y="2859928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EB8691B3-2A4E-3742-953D-D009D863D552}"/>
              </a:ext>
            </a:extLst>
          </p:cNvPr>
          <p:cNvSpPr txBox="1"/>
          <p:nvPr/>
        </p:nvSpPr>
        <p:spPr>
          <a:xfrm>
            <a:off x="6715500" y="2821828"/>
            <a:ext cx="26473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AI-</a:t>
            </a:r>
            <a:r>
              <a:rPr lang="de-DE" sz="1000" err="1"/>
              <a:t>based</a:t>
            </a:r>
            <a:r>
              <a:rPr lang="de-DE" sz="1000"/>
              <a:t> Supplier Performance </a:t>
            </a:r>
            <a:r>
              <a:rPr lang="de-DE" sz="1000" err="1"/>
              <a:t>control</a:t>
            </a:r>
            <a:endParaRPr lang="de-DE" sz="1000"/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1EBF46DD-4696-7075-6378-8282D7C27339}"/>
              </a:ext>
            </a:extLst>
          </p:cNvPr>
          <p:cNvSpPr/>
          <p:nvPr/>
        </p:nvSpPr>
        <p:spPr>
          <a:xfrm>
            <a:off x="5053764" y="3658983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F969D042-D08E-A872-245D-B0CD51221DD2}"/>
              </a:ext>
            </a:extLst>
          </p:cNvPr>
          <p:cNvSpPr/>
          <p:nvPr/>
        </p:nvSpPr>
        <p:spPr>
          <a:xfrm>
            <a:off x="6504473" y="311389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E75E11B3-EBA1-D7E4-BA45-5DA8329DD791}"/>
              </a:ext>
            </a:extLst>
          </p:cNvPr>
          <p:cNvSpPr txBox="1"/>
          <p:nvPr/>
        </p:nvSpPr>
        <p:spPr>
          <a:xfrm>
            <a:off x="6715591" y="3075791"/>
            <a:ext cx="26472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Data extraction, clause classification &amp; contract summarization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7DDAA2A0-0A46-5B51-D5A1-3D82F1644ABD}"/>
              </a:ext>
            </a:extLst>
          </p:cNvPr>
          <p:cNvSpPr/>
          <p:nvPr/>
        </p:nvSpPr>
        <p:spPr>
          <a:xfrm>
            <a:off x="4035032" y="345609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EF278C35-B22D-F801-5374-A2D231F83608}"/>
              </a:ext>
            </a:extLst>
          </p:cNvPr>
          <p:cNvSpPr/>
          <p:nvPr/>
        </p:nvSpPr>
        <p:spPr>
          <a:xfrm>
            <a:off x="6504473" y="3462298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C9B23F12-3C2D-50BF-A4E1-CF1F27E08755}"/>
              </a:ext>
            </a:extLst>
          </p:cNvPr>
          <p:cNvSpPr txBox="1"/>
          <p:nvPr/>
        </p:nvSpPr>
        <p:spPr>
          <a:xfrm>
            <a:off x="6715591" y="3424198"/>
            <a:ext cx="2647295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00"/>
              <a:t>AI-based document reading 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E812324-034C-CCF2-B41A-6A8C4A1ECFD4}"/>
              </a:ext>
            </a:extLst>
          </p:cNvPr>
          <p:cNvSpPr/>
          <p:nvPr/>
        </p:nvSpPr>
        <p:spPr>
          <a:xfrm>
            <a:off x="3817307" y="258183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DB459A6F-343E-15F9-5B2C-4633AADBF266}"/>
              </a:ext>
            </a:extLst>
          </p:cNvPr>
          <p:cNvSpPr/>
          <p:nvPr/>
        </p:nvSpPr>
        <p:spPr>
          <a:xfrm>
            <a:off x="6504382" y="3783431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B676C701-BB62-FEA0-FF20-DF253F236C33}"/>
              </a:ext>
            </a:extLst>
          </p:cNvPr>
          <p:cNvSpPr txBox="1"/>
          <p:nvPr/>
        </p:nvSpPr>
        <p:spPr>
          <a:xfrm>
            <a:off x="6716164" y="3744754"/>
            <a:ext cx="2641788" cy="253916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50" b="1">
                <a:solidFill>
                  <a:schemeClr val="tx2"/>
                </a:solidFill>
              </a:rPr>
              <a:t>Semantic Search &amp; Contract Analysi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7B31DE6D-1E39-758C-92C0-1A60D18D130E}"/>
              </a:ext>
            </a:extLst>
          </p:cNvPr>
          <p:cNvSpPr/>
          <p:nvPr/>
        </p:nvSpPr>
        <p:spPr>
          <a:xfrm>
            <a:off x="4794914" y="2521182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6DA18800-5230-EF29-C6E9-38916FC5770C}"/>
              </a:ext>
            </a:extLst>
          </p:cNvPr>
          <p:cNvSpPr/>
          <p:nvPr/>
        </p:nvSpPr>
        <p:spPr>
          <a:xfrm>
            <a:off x="6504382" y="4038600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03DF9166-7F9E-6433-5970-79DACF527D44}"/>
              </a:ext>
            </a:extLst>
          </p:cNvPr>
          <p:cNvSpPr txBox="1"/>
          <p:nvPr/>
        </p:nvSpPr>
        <p:spPr>
          <a:xfrm>
            <a:off x="6715500" y="3990975"/>
            <a:ext cx="2190375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00"/>
              <a:t>Extraction &amp; contractual obligations management</a:t>
            </a: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12510826-6E27-78A8-76B3-2DFAC5C4A422}"/>
              </a:ext>
            </a:extLst>
          </p:cNvPr>
          <p:cNvSpPr/>
          <p:nvPr/>
        </p:nvSpPr>
        <p:spPr>
          <a:xfrm>
            <a:off x="3102316" y="404910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544A8082-BDE4-25B0-6929-D1BE7342C6E7}"/>
              </a:ext>
            </a:extLst>
          </p:cNvPr>
          <p:cNvSpPr/>
          <p:nvPr/>
        </p:nvSpPr>
        <p:spPr>
          <a:xfrm>
            <a:off x="6504382" y="431280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BF3C7CFD-6856-6971-A369-91D7505F0C63}"/>
              </a:ext>
            </a:extLst>
          </p:cNvPr>
          <p:cNvSpPr txBox="1"/>
          <p:nvPr/>
        </p:nvSpPr>
        <p:spPr>
          <a:xfrm>
            <a:off x="6719764" y="4274701"/>
            <a:ext cx="26431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N-tier supplier / supply chain risk to predict supply disruptions</a:t>
            </a: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2761C017-CC9F-AF56-2C3D-A64AF2B0067F}"/>
              </a:ext>
            </a:extLst>
          </p:cNvPr>
          <p:cNvSpPr/>
          <p:nvPr/>
        </p:nvSpPr>
        <p:spPr>
          <a:xfrm>
            <a:off x="4654309" y="2797886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F97DD89D-691E-0403-27E1-2CA285833EAF}"/>
              </a:ext>
            </a:extLst>
          </p:cNvPr>
          <p:cNvSpPr/>
          <p:nvPr/>
        </p:nvSpPr>
        <p:spPr>
          <a:xfrm>
            <a:off x="6504382" y="4694869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37F09BAB-6A9C-1296-8BE0-62F2C06F5C45}"/>
              </a:ext>
            </a:extLst>
          </p:cNvPr>
          <p:cNvSpPr txBox="1"/>
          <p:nvPr/>
        </p:nvSpPr>
        <p:spPr>
          <a:xfrm>
            <a:off x="6719765" y="4656769"/>
            <a:ext cx="2643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err="1"/>
              <a:t>GenAI</a:t>
            </a:r>
            <a:r>
              <a:rPr lang="en-US" sz="1000"/>
              <a:t>-created supplier risk profiles w/ market and real-time data</a:t>
            </a: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774125A7-E802-C043-91C2-CBBE5D481346}"/>
              </a:ext>
            </a:extLst>
          </p:cNvPr>
          <p:cNvSpPr/>
          <p:nvPr/>
        </p:nvSpPr>
        <p:spPr>
          <a:xfrm>
            <a:off x="5454019" y="339964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22F90644-A7B7-F9C5-B497-2162F82BC3F7}"/>
              </a:ext>
            </a:extLst>
          </p:cNvPr>
          <p:cNvSpPr/>
          <p:nvPr/>
        </p:nvSpPr>
        <p:spPr>
          <a:xfrm>
            <a:off x="6509516" y="5076437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243B9484-B44C-2A0E-2A91-E296A8749607}"/>
              </a:ext>
            </a:extLst>
          </p:cNvPr>
          <p:cNvSpPr txBox="1"/>
          <p:nvPr/>
        </p:nvSpPr>
        <p:spPr>
          <a:xfrm>
            <a:off x="6716372" y="5038337"/>
            <a:ext cx="24657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Risk-based decision-making</a:t>
            </a:r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09156ADB-FBD2-CB3A-591C-2701D957532D}"/>
              </a:ext>
            </a:extLst>
          </p:cNvPr>
          <p:cNvSpPr/>
          <p:nvPr/>
        </p:nvSpPr>
        <p:spPr>
          <a:xfrm>
            <a:off x="2238976" y="3910003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9B57F34-2CB7-DEF6-CFAB-BB47673C207F}"/>
              </a:ext>
            </a:extLst>
          </p:cNvPr>
          <p:cNvSpPr/>
          <p:nvPr/>
        </p:nvSpPr>
        <p:spPr>
          <a:xfrm>
            <a:off x="6505811" y="5388738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329AB79-4240-AED5-63BF-9D66C74029F4}"/>
              </a:ext>
            </a:extLst>
          </p:cNvPr>
          <p:cNvSpPr txBox="1"/>
          <p:nvPr/>
        </p:nvSpPr>
        <p:spPr>
          <a:xfrm>
            <a:off x="6715499" y="5350638"/>
            <a:ext cx="26431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err="1"/>
              <a:t>GenAI</a:t>
            </a:r>
            <a:r>
              <a:rPr lang="en-US" sz="1000"/>
              <a:t>-driven Procurement Analytics</a:t>
            </a: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2A3D3A67-6991-36C7-4A16-0E3678397775}"/>
              </a:ext>
            </a:extLst>
          </p:cNvPr>
          <p:cNvSpPr/>
          <p:nvPr/>
        </p:nvSpPr>
        <p:spPr>
          <a:xfrm>
            <a:off x="5233764" y="2560986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AF117CE1-ADB7-3B5C-BFC7-7FCDC8C53D6B}"/>
              </a:ext>
            </a:extLst>
          </p:cNvPr>
          <p:cNvSpPr/>
          <p:nvPr/>
        </p:nvSpPr>
        <p:spPr>
          <a:xfrm>
            <a:off x="6504382" y="5707685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5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1803396E-E279-4628-42EA-81BDB597BC37}"/>
              </a:ext>
            </a:extLst>
          </p:cNvPr>
          <p:cNvSpPr txBox="1"/>
          <p:nvPr/>
        </p:nvSpPr>
        <p:spPr>
          <a:xfrm>
            <a:off x="6714071" y="5669585"/>
            <a:ext cx="214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category mapping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DB117D56-31C8-4587-E520-F5E351378B4C}"/>
              </a:ext>
            </a:extLst>
          </p:cNvPr>
          <p:cNvSpPr/>
          <p:nvPr/>
        </p:nvSpPr>
        <p:spPr>
          <a:xfrm>
            <a:off x="4725148" y="3098258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5</a:t>
            </a: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E5D91A9F-C7B5-A1D4-D753-692218B0A20E}"/>
              </a:ext>
            </a:extLst>
          </p:cNvPr>
          <p:cNvSpPr/>
          <p:nvPr/>
        </p:nvSpPr>
        <p:spPr>
          <a:xfrm>
            <a:off x="6511046" y="6010164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6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86953541-1E4B-8BDB-6467-CA7F2018B1DE}"/>
              </a:ext>
            </a:extLst>
          </p:cNvPr>
          <p:cNvSpPr txBox="1"/>
          <p:nvPr/>
        </p:nvSpPr>
        <p:spPr>
          <a:xfrm>
            <a:off x="6714071" y="5972064"/>
            <a:ext cx="164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nomous data cleansing</a:t>
            </a: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40735E85-DE9F-AEC2-2386-276B3F25F267}"/>
              </a:ext>
            </a:extLst>
          </p:cNvPr>
          <p:cNvSpPr/>
          <p:nvPr/>
        </p:nvSpPr>
        <p:spPr>
          <a:xfrm>
            <a:off x="4239977" y="2184558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6</a:t>
            </a: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588020DF-0EE8-869C-B86E-3A524ED21D8E}"/>
              </a:ext>
            </a:extLst>
          </p:cNvPr>
          <p:cNvSpPr/>
          <p:nvPr/>
        </p:nvSpPr>
        <p:spPr>
          <a:xfrm>
            <a:off x="9544426" y="1204912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7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5F727874-19CD-B325-C24F-3C140857EC01}"/>
              </a:ext>
            </a:extLst>
          </p:cNvPr>
          <p:cNvSpPr txBox="1"/>
          <p:nvPr/>
        </p:nvSpPr>
        <p:spPr>
          <a:xfrm>
            <a:off x="9747451" y="1166812"/>
            <a:ext cx="229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Gen(AI)-suggested cost improvements</a:t>
            </a: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5706095A-733F-CE4A-D4B1-A146FAFC3D8F}"/>
              </a:ext>
            </a:extLst>
          </p:cNvPr>
          <p:cNvSpPr/>
          <p:nvPr/>
        </p:nvSpPr>
        <p:spPr>
          <a:xfrm>
            <a:off x="2613110" y="298570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7</a:t>
            </a: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E3D092D8-42F4-CE76-0008-22E0B0363198}"/>
              </a:ext>
            </a:extLst>
          </p:cNvPr>
          <p:cNvSpPr/>
          <p:nvPr/>
        </p:nvSpPr>
        <p:spPr>
          <a:xfrm>
            <a:off x="9545859" y="1501560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8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B3ED59BE-1C36-9DC4-F57F-C4F9E05EB875}"/>
              </a:ext>
            </a:extLst>
          </p:cNvPr>
          <p:cNvSpPr txBox="1"/>
          <p:nvPr/>
        </p:nvSpPr>
        <p:spPr>
          <a:xfrm>
            <a:off x="9748884" y="1463460"/>
            <a:ext cx="214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Tail Spend Categorization</a:t>
            </a: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40E00BD5-EE54-D2C6-3097-317AF4FB768A}"/>
              </a:ext>
            </a:extLst>
          </p:cNvPr>
          <p:cNvSpPr/>
          <p:nvPr/>
        </p:nvSpPr>
        <p:spPr>
          <a:xfrm>
            <a:off x="4717941" y="3351143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8</a:t>
            </a: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79A8569A-E3BF-532E-1076-5E49D3E6054F}"/>
              </a:ext>
            </a:extLst>
          </p:cNvPr>
          <p:cNvSpPr/>
          <p:nvPr/>
        </p:nvSpPr>
        <p:spPr>
          <a:xfrm>
            <a:off x="9547290" y="1772982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9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B67718B1-B66B-FC9D-002F-2CA8494C567F}"/>
              </a:ext>
            </a:extLst>
          </p:cNvPr>
          <p:cNvSpPr txBox="1"/>
          <p:nvPr/>
        </p:nvSpPr>
        <p:spPr>
          <a:xfrm>
            <a:off x="9748884" y="1734882"/>
            <a:ext cx="21432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data preparation for e.g. CSDDD and LKSG</a:t>
            </a:r>
          </a:p>
        </p:txBody>
      </p:sp>
      <p:sp>
        <p:nvSpPr>
          <p:cNvPr id="76" name="Ellipse 75">
            <a:extLst>
              <a:ext uri="{FF2B5EF4-FFF2-40B4-BE49-F238E27FC236}">
                <a16:creationId xmlns:a16="http://schemas.microsoft.com/office/drawing/2014/main" id="{1634C0DA-9DA5-2617-4550-A53F2F815C51}"/>
              </a:ext>
            </a:extLst>
          </p:cNvPr>
          <p:cNvSpPr/>
          <p:nvPr/>
        </p:nvSpPr>
        <p:spPr>
          <a:xfrm>
            <a:off x="4235808" y="2993853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19</a:t>
            </a: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0C1954F8-6A6B-4B46-F36F-AD2B42790700}"/>
              </a:ext>
            </a:extLst>
          </p:cNvPr>
          <p:cNvSpPr/>
          <p:nvPr/>
        </p:nvSpPr>
        <p:spPr>
          <a:xfrm>
            <a:off x="9547290" y="2178045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0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D3D13C28-D59C-19A2-A5AC-27A896228C77}"/>
              </a:ext>
            </a:extLst>
          </p:cNvPr>
          <p:cNvSpPr txBox="1"/>
          <p:nvPr/>
        </p:nvSpPr>
        <p:spPr>
          <a:xfrm>
            <a:off x="9748884" y="2139945"/>
            <a:ext cx="20479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I-based sustainability compliance monitoring</a:t>
            </a: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61D00827-A61E-ABFA-D711-09A79B8FF183}"/>
              </a:ext>
            </a:extLst>
          </p:cNvPr>
          <p:cNvSpPr/>
          <p:nvPr/>
        </p:nvSpPr>
        <p:spPr>
          <a:xfrm>
            <a:off x="2690439" y="406419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0</a:t>
            </a: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603A97D3-92F3-C55E-227D-496444F673FB}"/>
              </a:ext>
            </a:extLst>
          </p:cNvPr>
          <p:cNvSpPr/>
          <p:nvPr/>
        </p:nvSpPr>
        <p:spPr>
          <a:xfrm>
            <a:off x="9547290" y="2560563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1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2F4F83BA-491F-A346-6BC7-69873AF8A0F2}"/>
              </a:ext>
            </a:extLst>
          </p:cNvPr>
          <p:cNvSpPr txBox="1"/>
          <p:nvPr/>
        </p:nvSpPr>
        <p:spPr>
          <a:xfrm>
            <a:off x="9748884" y="2522463"/>
            <a:ext cx="20695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lternative materials based on CO2 Footprint</a:t>
            </a: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E1220449-B3A7-E61D-704E-79EBC4A4A420}"/>
              </a:ext>
            </a:extLst>
          </p:cNvPr>
          <p:cNvSpPr/>
          <p:nvPr/>
        </p:nvSpPr>
        <p:spPr>
          <a:xfrm>
            <a:off x="2838939" y="424419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1</a:t>
            </a: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55E10E9C-6A74-0043-2E0D-E6887C0FCBAF}"/>
              </a:ext>
            </a:extLst>
          </p:cNvPr>
          <p:cNvSpPr/>
          <p:nvPr/>
        </p:nvSpPr>
        <p:spPr>
          <a:xfrm>
            <a:off x="9547290" y="2873206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2</a:t>
            </a: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E64362F1-6079-AC90-144E-669313D7E707}"/>
              </a:ext>
            </a:extLst>
          </p:cNvPr>
          <p:cNvSpPr txBox="1"/>
          <p:nvPr/>
        </p:nvSpPr>
        <p:spPr>
          <a:xfrm>
            <a:off x="9748883" y="2835106"/>
            <a:ext cx="24385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Optimized shipping routes and -consolidation</a:t>
            </a: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96B91C80-2AA5-306E-3FF9-25795861D957}"/>
              </a:ext>
            </a:extLst>
          </p:cNvPr>
          <p:cNvSpPr/>
          <p:nvPr/>
        </p:nvSpPr>
        <p:spPr>
          <a:xfrm>
            <a:off x="3393527" y="3876300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2</a:t>
            </a:r>
          </a:p>
        </p:txBody>
      </p:sp>
      <p:sp>
        <p:nvSpPr>
          <p:cNvPr id="86" name="Ellipse 85">
            <a:extLst>
              <a:ext uri="{FF2B5EF4-FFF2-40B4-BE49-F238E27FC236}">
                <a16:creationId xmlns:a16="http://schemas.microsoft.com/office/drawing/2014/main" id="{FD07BB60-3963-36D7-9A7F-36486A206BDE}"/>
              </a:ext>
            </a:extLst>
          </p:cNvPr>
          <p:cNvSpPr/>
          <p:nvPr/>
        </p:nvSpPr>
        <p:spPr>
          <a:xfrm>
            <a:off x="9547288" y="3253387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3</a:t>
            </a: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6E27D271-53BF-5082-E228-93F27563BF36}"/>
              </a:ext>
            </a:extLst>
          </p:cNvPr>
          <p:cNvSpPr txBox="1"/>
          <p:nvPr/>
        </p:nvSpPr>
        <p:spPr>
          <a:xfrm>
            <a:off x="9748882" y="3215287"/>
            <a:ext cx="204798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tx2"/>
                </a:solidFill>
              </a:rPr>
              <a:t>Co-Pilot for requisitioners regarding guided buying</a:t>
            </a:r>
          </a:p>
        </p:txBody>
      </p:sp>
      <p:sp>
        <p:nvSpPr>
          <p:cNvPr id="88" name="Ellipse 87">
            <a:extLst>
              <a:ext uri="{FF2B5EF4-FFF2-40B4-BE49-F238E27FC236}">
                <a16:creationId xmlns:a16="http://schemas.microsoft.com/office/drawing/2014/main" id="{6212FA17-A9D4-9C42-3586-317B9812B6F6}"/>
              </a:ext>
            </a:extLst>
          </p:cNvPr>
          <p:cNvSpPr/>
          <p:nvPr/>
        </p:nvSpPr>
        <p:spPr>
          <a:xfrm>
            <a:off x="5143764" y="2134992"/>
            <a:ext cx="180000" cy="18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3</a:t>
            </a:r>
          </a:p>
        </p:txBody>
      </p:sp>
      <p:sp>
        <p:nvSpPr>
          <p:cNvPr id="89" name="Ellipse 88">
            <a:extLst>
              <a:ext uri="{FF2B5EF4-FFF2-40B4-BE49-F238E27FC236}">
                <a16:creationId xmlns:a16="http://schemas.microsoft.com/office/drawing/2014/main" id="{F780804B-A281-2A8B-47EE-A38FAEEEAB49}"/>
              </a:ext>
            </a:extLst>
          </p:cNvPr>
          <p:cNvSpPr/>
          <p:nvPr/>
        </p:nvSpPr>
        <p:spPr>
          <a:xfrm>
            <a:off x="9545859" y="3633568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4</a:t>
            </a: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62FE506B-CB2E-599A-279A-72C2AA3B5749}"/>
              </a:ext>
            </a:extLst>
          </p:cNvPr>
          <p:cNvSpPr txBox="1"/>
          <p:nvPr/>
        </p:nvSpPr>
        <p:spPr>
          <a:xfrm>
            <a:off x="9747453" y="3595468"/>
            <a:ext cx="20479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nomous Procurement of spare parts</a:t>
            </a: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4EA41F90-8BC1-8A09-5F83-29754765A7A4}"/>
              </a:ext>
            </a:extLst>
          </p:cNvPr>
          <p:cNvSpPr/>
          <p:nvPr/>
        </p:nvSpPr>
        <p:spPr>
          <a:xfrm>
            <a:off x="9545859" y="3930435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5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6689DE88-6311-2FF2-96BA-3150C88FBFD4}"/>
              </a:ext>
            </a:extLst>
          </p:cNvPr>
          <p:cNvSpPr txBox="1"/>
          <p:nvPr/>
        </p:nvSpPr>
        <p:spPr>
          <a:xfrm>
            <a:off x="9747452" y="3892335"/>
            <a:ext cx="21432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Predictive demand forecasting</a:t>
            </a:r>
          </a:p>
        </p:txBody>
      </p:sp>
      <p:sp>
        <p:nvSpPr>
          <p:cNvPr id="94" name="Ellipse 93">
            <a:extLst>
              <a:ext uri="{FF2B5EF4-FFF2-40B4-BE49-F238E27FC236}">
                <a16:creationId xmlns:a16="http://schemas.microsoft.com/office/drawing/2014/main" id="{7A656327-DDC2-2769-5BD2-0E734F173978}"/>
              </a:ext>
            </a:extLst>
          </p:cNvPr>
          <p:cNvSpPr/>
          <p:nvPr/>
        </p:nvSpPr>
        <p:spPr>
          <a:xfrm>
            <a:off x="4121242" y="4377708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5</a:t>
            </a:r>
          </a:p>
        </p:txBody>
      </p:sp>
      <p:sp>
        <p:nvSpPr>
          <p:cNvPr id="95" name="Ellipse 94">
            <a:extLst>
              <a:ext uri="{FF2B5EF4-FFF2-40B4-BE49-F238E27FC236}">
                <a16:creationId xmlns:a16="http://schemas.microsoft.com/office/drawing/2014/main" id="{6171A053-B2DB-EE0E-A1EC-071E9668D4B6}"/>
              </a:ext>
            </a:extLst>
          </p:cNvPr>
          <p:cNvSpPr/>
          <p:nvPr/>
        </p:nvSpPr>
        <p:spPr>
          <a:xfrm>
            <a:off x="9550547" y="4221850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6</a:t>
            </a: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77B5D4C2-36C9-8878-0726-D5A6B1BC988D}"/>
              </a:ext>
            </a:extLst>
          </p:cNvPr>
          <p:cNvSpPr txBox="1"/>
          <p:nvPr/>
        </p:nvSpPr>
        <p:spPr>
          <a:xfrm>
            <a:off x="9747451" y="4183750"/>
            <a:ext cx="18303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P Invoice Automation</a:t>
            </a:r>
          </a:p>
        </p:txBody>
      </p:sp>
      <p:sp>
        <p:nvSpPr>
          <p:cNvPr id="97" name="Ellipse 96">
            <a:extLst>
              <a:ext uri="{FF2B5EF4-FFF2-40B4-BE49-F238E27FC236}">
                <a16:creationId xmlns:a16="http://schemas.microsoft.com/office/drawing/2014/main" id="{5E78CFD3-B95F-30E9-5D6E-F9DF7694004D}"/>
              </a:ext>
            </a:extLst>
          </p:cNvPr>
          <p:cNvSpPr/>
          <p:nvPr/>
        </p:nvSpPr>
        <p:spPr>
          <a:xfrm>
            <a:off x="5560533" y="2667879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6</a:t>
            </a:r>
          </a:p>
        </p:txBody>
      </p:sp>
      <p:sp>
        <p:nvSpPr>
          <p:cNvPr id="98" name="Ellipse 97">
            <a:extLst>
              <a:ext uri="{FF2B5EF4-FFF2-40B4-BE49-F238E27FC236}">
                <a16:creationId xmlns:a16="http://schemas.microsoft.com/office/drawing/2014/main" id="{C5A1B5D0-1E81-EDFC-F1F7-28EFA0E6A092}"/>
              </a:ext>
            </a:extLst>
          </p:cNvPr>
          <p:cNvSpPr/>
          <p:nvPr/>
        </p:nvSpPr>
        <p:spPr>
          <a:xfrm>
            <a:off x="9550546" y="4478920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7</a:t>
            </a: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0F67A4C0-2979-148C-1F39-93954D113702}"/>
              </a:ext>
            </a:extLst>
          </p:cNvPr>
          <p:cNvSpPr txBox="1"/>
          <p:nvPr/>
        </p:nvSpPr>
        <p:spPr>
          <a:xfrm>
            <a:off x="9747451" y="4440820"/>
            <a:ext cx="11164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NLP to Invoice</a:t>
            </a:r>
          </a:p>
        </p:txBody>
      </p:sp>
      <p:sp>
        <p:nvSpPr>
          <p:cNvPr id="100" name="Ellipse 99">
            <a:extLst>
              <a:ext uri="{FF2B5EF4-FFF2-40B4-BE49-F238E27FC236}">
                <a16:creationId xmlns:a16="http://schemas.microsoft.com/office/drawing/2014/main" id="{2B0FE038-DE6E-2909-693E-B1298BC67515}"/>
              </a:ext>
            </a:extLst>
          </p:cNvPr>
          <p:cNvSpPr/>
          <p:nvPr/>
        </p:nvSpPr>
        <p:spPr>
          <a:xfrm>
            <a:off x="3541132" y="4324350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7</a:t>
            </a:r>
          </a:p>
        </p:txBody>
      </p:sp>
      <p:sp>
        <p:nvSpPr>
          <p:cNvPr id="101" name="Ellipse 100">
            <a:extLst>
              <a:ext uri="{FF2B5EF4-FFF2-40B4-BE49-F238E27FC236}">
                <a16:creationId xmlns:a16="http://schemas.microsoft.com/office/drawing/2014/main" id="{D3BE4EED-7FB9-4F24-641D-141A4B3DC9B8}"/>
              </a:ext>
            </a:extLst>
          </p:cNvPr>
          <p:cNvSpPr/>
          <p:nvPr/>
        </p:nvSpPr>
        <p:spPr>
          <a:xfrm>
            <a:off x="9545859" y="4716217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8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BC149DE7-3429-6028-8858-5760CE576170}"/>
              </a:ext>
            </a:extLst>
          </p:cNvPr>
          <p:cNvSpPr txBox="1"/>
          <p:nvPr/>
        </p:nvSpPr>
        <p:spPr>
          <a:xfrm>
            <a:off x="9752142" y="4678117"/>
            <a:ext cx="2520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I-assisted invoice dispute management</a:t>
            </a:r>
          </a:p>
        </p:txBody>
      </p:sp>
      <p:sp>
        <p:nvSpPr>
          <p:cNvPr id="103" name="Ellipse 102">
            <a:extLst>
              <a:ext uri="{FF2B5EF4-FFF2-40B4-BE49-F238E27FC236}">
                <a16:creationId xmlns:a16="http://schemas.microsoft.com/office/drawing/2014/main" id="{35851A7A-576D-1A04-1905-0D4969F4FAED}"/>
              </a:ext>
            </a:extLst>
          </p:cNvPr>
          <p:cNvSpPr/>
          <p:nvPr/>
        </p:nvSpPr>
        <p:spPr>
          <a:xfrm>
            <a:off x="3812500" y="4541520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8</a:t>
            </a:r>
          </a:p>
        </p:txBody>
      </p:sp>
      <p:sp>
        <p:nvSpPr>
          <p:cNvPr id="104" name="Ellipse 103">
            <a:extLst>
              <a:ext uri="{FF2B5EF4-FFF2-40B4-BE49-F238E27FC236}">
                <a16:creationId xmlns:a16="http://schemas.microsoft.com/office/drawing/2014/main" id="{B900CAFC-2C45-079B-5D0F-533261274B98}"/>
              </a:ext>
            </a:extLst>
          </p:cNvPr>
          <p:cNvSpPr/>
          <p:nvPr/>
        </p:nvSpPr>
        <p:spPr>
          <a:xfrm>
            <a:off x="9545859" y="4982808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9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AEAE7CB8-1F9A-1BFE-1743-D6888E559886}"/>
              </a:ext>
            </a:extLst>
          </p:cNvPr>
          <p:cNvSpPr txBox="1"/>
          <p:nvPr/>
        </p:nvSpPr>
        <p:spPr>
          <a:xfrm>
            <a:off x="9748366" y="4944708"/>
            <a:ext cx="22961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err="1"/>
              <a:t>GenAI</a:t>
            </a:r>
            <a:r>
              <a:rPr lang="en-US" sz="1000"/>
              <a:t>-powered fraud detection and -prevention</a:t>
            </a:r>
          </a:p>
        </p:txBody>
      </p:sp>
      <p:sp>
        <p:nvSpPr>
          <p:cNvPr id="106" name="Ellipse 105">
            <a:extLst>
              <a:ext uri="{FF2B5EF4-FFF2-40B4-BE49-F238E27FC236}">
                <a16:creationId xmlns:a16="http://schemas.microsoft.com/office/drawing/2014/main" id="{5F046026-FBEB-0992-7787-37B28ED18632}"/>
              </a:ext>
            </a:extLst>
          </p:cNvPr>
          <p:cNvSpPr/>
          <p:nvPr/>
        </p:nvSpPr>
        <p:spPr>
          <a:xfrm>
            <a:off x="4371564" y="2479817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9</a:t>
            </a:r>
          </a:p>
        </p:txBody>
      </p:sp>
      <p:sp>
        <p:nvSpPr>
          <p:cNvPr id="107" name="Ellipse 106">
            <a:extLst>
              <a:ext uri="{FF2B5EF4-FFF2-40B4-BE49-F238E27FC236}">
                <a16:creationId xmlns:a16="http://schemas.microsoft.com/office/drawing/2014/main" id="{B249845A-CF40-0DA6-7831-8954E346E98D}"/>
              </a:ext>
            </a:extLst>
          </p:cNvPr>
          <p:cNvSpPr/>
          <p:nvPr/>
        </p:nvSpPr>
        <p:spPr>
          <a:xfrm>
            <a:off x="9549634" y="5365466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0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8A0667BD-FD98-96A6-B8F0-CD63108D0E0A}"/>
              </a:ext>
            </a:extLst>
          </p:cNvPr>
          <p:cNvSpPr txBox="1"/>
          <p:nvPr/>
        </p:nvSpPr>
        <p:spPr>
          <a:xfrm>
            <a:off x="9752142" y="5327366"/>
            <a:ext cx="18159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Intelligent payment routing</a:t>
            </a:r>
          </a:p>
        </p:txBody>
      </p:sp>
      <p:sp>
        <p:nvSpPr>
          <p:cNvPr id="109" name="Ellipse 108">
            <a:extLst>
              <a:ext uri="{FF2B5EF4-FFF2-40B4-BE49-F238E27FC236}">
                <a16:creationId xmlns:a16="http://schemas.microsoft.com/office/drawing/2014/main" id="{445378CF-E962-E1D2-3A19-16D6A3D9F071}"/>
              </a:ext>
            </a:extLst>
          </p:cNvPr>
          <p:cNvSpPr/>
          <p:nvPr/>
        </p:nvSpPr>
        <p:spPr>
          <a:xfrm>
            <a:off x="9544426" y="5620296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1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29CF8969-220E-95AB-790C-802F21000382}"/>
              </a:ext>
            </a:extLst>
          </p:cNvPr>
          <p:cNvSpPr txBox="1"/>
          <p:nvPr/>
        </p:nvSpPr>
        <p:spPr>
          <a:xfrm>
            <a:off x="9746933" y="5582196"/>
            <a:ext cx="18159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I-driven credit scoring</a:t>
            </a:r>
          </a:p>
        </p:txBody>
      </p:sp>
      <p:sp>
        <p:nvSpPr>
          <p:cNvPr id="111" name="Ellipse 110">
            <a:extLst>
              <a:ext uri="{FF2B5EF4-FFF2-40B4-BE49-F238E27FC236}">
                <a16:creationId xmlns:a16="http://schemas.microsoft.com/office/drawing/2014/main" id="{E30D3D72-34D9-8020-B264-28A42C3652E8}"/>
              </a:ext>
            </a:extLst>
          </p:cNvPr>
          <p:cNvSpPr/>
          <p:nvPr/>
        </p:nvSpPr>
        <p:spPr>
          <a:xfrm>
            <a:off x="4965179" y="440280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0</a:t>
            </a:r>
          </a:p>
        </p:txBody>
      </p:sp>
      <p:sp>
        <p:nvSpPr>
          <p:cNvPr id="112" name="Ellipse 111">
            <a:extLst>
              <a:ext uri="{FF2B5EF4-FFF2-40B4-BE49-F238E27FC236}">
                <a16:creationId xmlns:a16="http://schemas.microsoft.com/office/drawing/2014/main" id="{85C80109-2CD8-E9CB-E19A-96B1A303F7B9}"/>
              </a:ext>
            </a:extLst>
          </p:cNvPr>
          <p:cNvSpPr/>
          <p:nvPr/>
        </p:nvSpPr>
        <p:spPr>
          <a:xfrm>
            <a:off x="4594587" y="4161665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1</a:t>
            </a:r>
          </a:p>
        </p:txBody>
      </p:sp>
      <p:sp>
        <p:nvSpPr>
          <p:cNvPr id="113" name="Ellipse 112">
            <a:extLst>
              <a:ext uri="{FF2B5EF4-FFF2-40B4-BE49-F238E27FC236}">
                <a16:creationId xmlns:a16="http://schemas.microsoft.com/office/drawing/2014/main" id="{5425148C-2562-54A3-6AB2-6DE1BD1AB166}"/>
              </a:ext>
            </a:extLst>
          </p:cNvPr>
          <p:cNvSpPr/>
          <p:nvPr/>
        </p:nvSpPr>
        <p:spPr>
          <a:xfrm>
            <a:off x="9546770" y="5911650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2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71F8EF34-35B9-89CD-27EB-7523CCE433E4}"/>
              </a:ext>
            </a:extLst>
          </p:cNvPr>
          <p:cNvSpPr txBox="1"/>
          <p:nvPr/>
        </p:nvSpPr>
        <p:spPr>
          <a:xfrm>
            <a:off x="9747451" y="5873550"/>
            <a:ext cx="19605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Automated compliance checks</a:t>
            </a:r>
          </a:p>
        </p:txBody>
      </p:sp>
      <p:sp>
        <p:nvSpPr>
          <p:cNvPr id="115" name="Ellipse 114">
            <a:extLst>
              <a:ext uri="{FF2B5EF4-FFF2-40B4-BE49-F238E27FC236}">
                <a16:creationId xmlns:a16="http://schemas.microsoft.com/office/drawing/2014/main" id="{B98597D5-1DBC-FD96-6C47-05247F580B9D}"/>
              </a:ext>
            </a:extLst>
          </p:cNvPr>
          <p:cNvSpPr/>
          <p:nvPr/>
        </p:nvSpPr>
        <p:spPr>
          <a:xfrm>
            <a:off x="4078012" y="4064191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2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5D69A509-9CF7-E559-1ACD-67A9EEE0E84B}"/>
              </a:ext>
            </a:extLst>
          </p:cNvPr>
          <p:cNvSpPr txBox="1"/>
          <p:nvPr/>
        </p:nvSpPr>
        <p:spPr>
          <a:xfrm>
            <a:off x="707334" y="1460512"/>
            <a:ext cx="13233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>
                <a:solidFill>
                  <a:schemeClr val="tx2"/>
                </a:solidFill>
              </a:rPr>
              <a:t>CALCULATED RISK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8D1AA9D5-2D9B-B6E1-7431-D66B36EF56D4}"/>
              </a:ext>
            </a:extLst>
          </p:cNvPr>
          <p:cNvSpPr txBox="1"/>
          <p:nvPr/>
        </p:nvSpPr>
        <p:spPr>
          <a:xfrm>
            <a:off x="2955293" y="1460512"/>
            <a:ext cx="9742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>
                <a:solidFill>
                  <a:schemeClr val="bg2">
                    <a:lumMod val="50000"/>
                  </a:schemeClr>
                </a:solidFill>
              </a:rPr>
              <a:t>LIKELY WINS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B712E1F1-4210-FA05-8A11-4E99A527445D}"/>
              </a:ext>
            </a:extLst>
          </p:cNvPr>
          <p:cNvSpPr txBox="1"/>
          <p:nvPr/>
        </p:nvSpPr>
        <p:spPr>
          <a:xfrm>
            <a:off x="707334" y="5623739"/>
            <a:ext cx="1337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t>MARGINAL GAINS</a:t>
            </a: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78B23B49-E179-BE3A-41C8-FCFBA5FDFDAE}"/>
              </a:ext>
            </a:extLst>
          </p:cNvPr>
          <p:cNvSpPr/>
          <p:nvPr/>
        </p:nvSpPr>
        <p:spPr>
          <a:xfrm>
            <a:off x="1262309" y="3163387"/>
            <a:ext cx="180000" cy="180000"/>
          </a:xfrm>
          <a:prstGeom prst="ellipse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38991432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CF5518-1E2A-F76E-209E-A50C81C840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9E68B2DF-0887-8367-C9CE-A6EA879544B2}"/>
              </a:ext>
            </a:extLst>
          </p:cNvPr>
          <p:cNvSpPr/>
          <p:nvPr/>
        </p:nvSpPr>
        <p:spPr>
          <a:xfrm>
            <a:off x="8404277" y="2180400"/>
            <a:ext cx="3780000" cy="4519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DE14149-1C24-B991-779A-BE72FF51BEDA}"/>
              </a:ext>
            </a:extLst>
          </p:cNvPr>
          <p:cNvSpPr/>
          <p:nvPr/>
        </p:nvSpPr>
        <p:spPr>
          <a:xfrm>
            <a:off x="4213921" y="1860640"/>
            <a:ext cx="3793400" cy="4519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35C8C1A-CE1C-2A67-63A2-1E469DA50AC7}"/>
              </a:ext>
            </a:extLst>
          </p:cNvPr>
          <p:cNvSpPr/>
          <p:nvPr/>
        </p:nvSpPr>
        <p:spPr>
          <a:xfrm>
            <a:off x="9851" y="1534987"/>
            <a:ext cx="3780000" cy="4519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981A29C-D1FF-E62C-7C50-5EB78E1795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Selected </a:t>
            </a:r>
            <a:r>
              <a:rPr lang="de-DE" err="1"/>
              <a:t>use</a:t>
            </a:r>
            <a:r>
              <a:rPr lang="de-DE"/>
              <a:t> Cases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selected</a:t>
            </a:r>
            <a:r>
              <a:rPr lang="de-DE"/>
              <a:t> </a:t>
            </a:r>
            <a:r>
              <a:rPr lang="de-DE" err="1"/>
              <a:t>clients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6BBC881-2E9A-8261-6CBF-62F4A20865C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509481"/>
            <a:ext cx="10944225" cy="369334"/>
          </a:xfrm>
        </p:spPr>
        <p:txBody>
          <a:bodyPr/>
          <a:lstStyle/>
          <a:p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Three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top Use Cases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that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already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worked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for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our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clients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and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created</a:t>
            </a:r>
            <a:r>
              <a:rPr lang="de-DE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 tangible </a:t>
            </a:r>
            <a:r>
              <a:rPr lang="de-DE" err="1">
                <a:gradFill>
                  <a:gsLst>
                    <a:gs pos="0">
                      <a:schemeClr val="bg2"/>
                    </a:gs>
                    <a:gs pos="85000">
                      <a:schemeClr val="tx2"/>
                    </a:gs>
                  </a:gsLst>
                  <a:lin ang="2700000" scaled="0"/>
                </a:gradFill>
              </a:rPr>
              <a:t>value</a:t>
            </a:r>
            <a:endParaRPr lang="de-DE">
              <a:gradFill>
                <a:gsLst>
                  <a:gs pos="0">
                    <a:schemeClr val="bg2"/>
                  </a:gs>
                  <a:gs pos="85000">
                    <a:schemeClr val="tx2"/>
                  </a:gs>
                </a:gsLst>
                <a:lin ang="2700000" scaled="0"/>
              </a:gra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2753D13-1FF4-647A-3734-D1BDA37761BE}"/>
              </a:ext>
            </a:extLst>
          </p:cNvPr>
          <p:cNvSpPr/>
          <p:nvPr/>
        </p:nvSpPr>
        <p:spPr>
          <a:xfrm>
            <a:off x="87917" y="2888414"/>
            <a:ext cx="3564000" cy="1231758"/>
          </a:xfrm>
          <a:prstGeom prst="rect">
            <a:avLst/>
          </a:prstGeom>
          <a:solidFill>
            <a:schemeClr val="bg1"/>
          </a:solidFill>
          <a:ln w="9525">
            <a:solidFill>
              <a:srgbClr val="6DE3F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2CEAB90-A695-6142-AA43-6DA36F9F22DD}"/>
              </a:ext>
            </a:extLst>
          </p:cNvPr>
          <p:cNvSpPr/>
          <p:nvPr/>
        </p:nvSpPr>
        <p:spPr>
          <a:xfrm>
            <a:off x="4311445" y="3047972"/>
            <a:ext cx="3564000" cy="1231758"/>
          </a:xfrm>
          <a:prstGeom prst="rect">
            <a:avLst/>
          </a:prstGeom>
          <a:solidFill>
            <a:schemeClr val="bg1"/>
          </a:solidFill>
          <a:ln w="9525">
            <a:solidFill>
              <a:srgbClr val="6DE3F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0EB2728-E027-35E8-EA0E-C32F38D0664E}"/>
              </a:ext>
            </a:extLst>
          </p:cNvPr>
          <p:cNvSpPr/>
          <p:nvPr/>
        </p:nvSpPr>
        <p:spPr>
          <a:xfrm>
            <a:off x="8524685" y="3490133"/>
            <a:ext cx="3564000" cy="1231758"/>
          </a:xfrm>
          <a:prstGeom prst="rect">
            <a:avLst/>
          </a:prstGeom>
          <a:solidFill>
            <a:schemeClr val="bg1"/>
          </a:solidFill>
          <a:ln w="9525">
            <a:solidFill>
              <a:srgbClr val="6DE3F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4D9D4423-6DDF-A119-709E-486D91897E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86" t="12974" r="13989" b="32047"/>
          <a:stretch/>
        </p:blipFill>
        <p:spPr bwMode="auto">
          <a:xfrm>
            <a:off x="9563835" y="2861331"/>
            <a:ext cx="1394140" cy="468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37DD5916-2E2F-797E-A26E-E670733188C0}"/>
              </a:ext>
            </a:extLst>
          </p:cNvPr>
          <p:cNvSpPr txBox="1"/>
          <p:nvPr/>
        </p:nvSpPr>
        <p:spPr>
          <a:xfrm>
            <a:off x="133554" y="1727020"/>
            <a:ext cx="34727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/>
              <a:t>MATERIAL HARMONIZATION</a:t>
            </a:r>
          </a:p>
          <a:p>
            <a:pPr algn="ctr"/>
            <a:r>
              <a:rPr lang="de-DE" sz="1400" b="1"/>
              <a:t>SAVINGS GENERATION WITH SIMILAR PARTS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2C36A9E-C247-E149-EF1D-53AFC45B40D8}"/>
              </a:ext>
            </a:extLst>
          </p:cNvPr>
          <p:cNvSpPr txBox="1"/>
          <p:nvPr/>
        </p:nvSpPr>
        <p:spPr>
          <a:xfrm>
            <a:off x="4357082" y="1994299"/>
            <a:ext cx="3472727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400" b="1"/>
              <a:t>CONTRACT READING &amp; -ANALYSI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C5440E8-19D9-0028-14B3-77A49D71C839}"/>
              </a:ext>
            </a:extLst>
          </p:cNvPr>
          <p:cNvSpPr txBox="1"/>
          <p:nvPr/>
        </p:nvSpPr>
        <p:spPr>
          <a:xfrm>
            <a:off x="8572005" y="2328740"/>
            <a:ext cx="3472727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/>
              <a:t>CO-PILOT FOR REQUISITIONERS WITH GUIDED BUYING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FE25A5B1-60FD-76B2-7244-9B2F4C12C223}"/>
              </a:ext>
            </a:extLst>
          </p:cNvPr>
          <p:cNvSpPr/>
          <p:nvPr/>
        </p:nvSpPr>
        <p:spPr>
          <a:xfrm>
            <a:off x="1833669" y="1094213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B75AE932-89CA-3FE4-43B1-4914D959E9F7}"/>
              </a:ext>
            </a:extLst>
          </p:cNvPr>
          <p:cNvSpPr/>
          <p:nvPr/>
        </p:nvSpPr>
        <p:spPr>
          <a:xfrm>
            <a:off x="5984276" y="1408775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546A1697-1B97-0257-64B5-305FC6FBBC99}"/>
              </a:ext>
            </a:extLst>
          </p:cNvPr>
          <p:cNvSpPr/>
          <p:nvPr/>
        </p:nvSpPr>
        <p:spPr>
          <a:xfrm>
            <a:off x="10114277" y="1698816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23</a:t>
            </a:r>
          </a:p>
        </p:txBody>
      </p:sp>
      <p:sp>
        <p:nvSpPr>
          <p:cNvPr id="16" name="Kreuz 15">
            <a:extLst>
              <a:ext uri="{FF2B5EF4-FFF2-40B4-BE49-F238E27FC236}">
                <a16:creationId xmlns:a16="http://schemas.microsoft.com/office/drawing/2014/main" id="{35A21A21-7A7F-D18C-9F77-6E226CBAD1C3}"/>
              </a:ext>
            </a:extLst>
          </p:cNvPr>
          <p:cNvSpPr/>
          <p:nvPr/>
        </p:nvSpPr>
        <p:spPr>
          <a:xfrm>
            <a:off x="1706897" y="2382191"/>
            <a:ext cx="326041" cy="318419"/>
          </a:xfrm>
          <a:prstGeom prst="plus">
            <a:avLst>
              <a:gd name="adj" fmla="val 44942"/>
            </a:avLst>
          </a:prstGeom>
          <a:solidFill>
            <a:schemeClr val="accent5"/>
          </a:solidFill>
          <a:ln w="952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F985D5A-C239-3999-B00D-4F6A86C5F03E}"/>
              </a:ext>
            </a:extLst>
          </p:cNvPr>
          <p:cNvSpPr txBox="1"/>
          <p:nvPr/>
        </p:nvSpPr>
        <p:spPr>
          <a:xfrm>
            <a:off x="2261649" y="2279790"/>
            <a:ext cx="1472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/>
              <a:t>German </a:t>
            </a:r>
            <a:r>
              <a:rPr lang="de-DE" sz="1400" b="1" err="1"/>
              <a:t>Manufacturer</a:t>
            </a:r>
            <a:endParaRPr lang="de-DE" sz="1400" b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1B88987-DE1A-4922-A9DE-0B6BE02AAF7D}"/>
              </a:ext>
            </a:extLst>
          </p:cNvPr>
          <p:cNvSpPr/>
          <p:nvPr/>
        </p:nvSpPr>
        <p:spPr>
          <a:xfrm>
            <a:off x="87917" y="4195402"/>
            <a:ext cx="3564000" cy="738664"/>
          </a:xfrm>
          <a:prstGeom prst="rect">
            <a:avLst/>
          </a:prstGeom>
          <a:solidFill>
            <a:schemeClr val="bg1"/>
          </a:solidFill>
          <a:ln w="9525">
            <a:solidFill>
              <a:srgbClr val="6DE3F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9C1F87D7-F6A5-A963-3EB9-34249C7D0E52}"/>
              </a:ext>
            </a:extLst>
          </p:cNvPr>
          <p:cNvSpPr/>
          <p:nvPr/>
        </p:nvSpPr>
        <p:spPr>
          <a:xfrm>
            <a:off x="4311445" y="4354960"/>
            <a:ext cx="3564000" cy="738664"/>
          </a:xfrm>
          <a:prstGeom prst="rect">
            <a:avLst/>
          </a:prstGeom>
          <a:solidFill>
            <a:schemeClr val="bg1"/>
          </a:solidFill>
          <a:ln w="9525">
            <a:solidFill>
              <a:srgbClr val="6DE3F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14A0993-ACEC-2164-ACF9-C500DF30AB3D}"/>
              </a:ext>
            </a:extLst>
          </p:cNvPr>
          <p:cNvSpPr/>
          <p:nvPr/>
        </p:nvSpPr>
        <p:spPr>
          <a:xfrm>
            <a:off x="8524685" y="4797122"/>
            <a:ext cx="3564000" cy="738664"/>
          </a:xfrm>
          <a:prstGeom prst="rect">
            <a:avLst/>
          </a:prstGeom>
          <a:solidFill>
            <a:schemeClr val="bg1"/>
          </a:solidFill>
          <a:ln w="9525">
            <a:solidFill>
              <a:srgbClr val="6DE3F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6AA64A9D-EEFD-4E5F-C0C2-9A83C32708EB}"/>
              </a:ext>
            </a:extLst>
          </p:cNvPr>
          <p:cNvSpPr txBox="1"/>
          <p:nvPr/>
        </p:nvSpPr>
        <p:spPr>
          <a:xfrm>
            <a:off x="5357195" y="2439348"/>
            <a:ext cx="1472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/>
              <a:t>German </a:t>
            </a:r>
            <a:r>
              <a:rPr lang="de-DE" sz="1400" b="1" err="1"/>
              <a:t>Manufacturer</a:t>
            </a:r>
            <a:endParaRPr lang="de-DE" sz="1400" b="1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C6C1C6C-B234-C503-2227-A30A1BC2DD6D}"/>
              </a:ext>
            </a:extLst>
          </p:cNvPr>
          <p:cNvSpPr txBox="1"/>
          <p:nvPr/>
        </p:nvSpPr>
        <p:spPr>
          <a:xfrm>
            <a:off x="74717" y="3386908"/>
            <a:ext cx="9620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/>
              <a:t>AI-</a:t>
            </a:r>
            <a:r>
              <a:rPr lang="de-DE" sz="1050" err="1"/>
              <a:t>powered</a:t>
            </a:r>
            <a:r>
              <a:rPr lang="de-DE" sz="1050"/>
              <a:t> </a:t>
            </a:r>
            <a:r>
              <a:rPr lang="de-DE" sz="1050" err="1"/>
              <a:t>identification</a:t>
            </a:r>
            <a:r>
              <a:rPr lang="de-DE" sz="1050"/>
              <a:t> </a:t>
            </a:r>
            <a:r>
              <a:rPr lang="de-DE" sz="1050" err="1"/>
              <a:t>of</a:t>
            </a:r>
            <a:r>
              <a:rPr lang="de-DE" sz="1050"/>
              <a:t> same- &amp; </a:t>
            </a:r>
            <a:r>
              <a:rPr lang="de-DE" sz="1050" err="1"/>
              <a:t>similar</a:t>
            </a:r>
            <a:r>
              <a:rPr lang="de-DE" sz="1050"/>
              <a:t> </a:t>
            </a:r>
            <a:r>
              <a:rPr lang="de-DE" sz="1050" err="1"/>
              <a:t>parts</a:t>
            </a:r>
            <a:endParaRPr lang="de-DE" sz="1050"/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1AA071B9-C810-E455-38D7-8D8A1F08E9D4}"/>
              </a:ext>
            </a:extLst>
          </p:cNvPr>
          <p:cNvSpPr/>
          <p:nvPr/>
        </p:nvSpPr>
        <p:spPr>
          <a:xfrm rot="5400000">
            <a:off x="832076" y="3703602"/>
            <a:ext cx="332534" cy="105277"/>
          </a:xfrm>
          <a:prstGeom prst="triangle">
            <a:avLst/>
          </a:prstGeom>
          <a:solidFill>
            <a:srgbClr val="7D3FAE"/>
          </a:solidFill>
          <a:ln w="9525">
            <a:solidFill>
              <a:srgbClr val="7D3FA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D204F7AD-1E7D-F2CD-FF66-D711D2C43B69}"/>
              </a:ext>
            </a:extLst>
          </p:cNvPr>
          <p:cNvSpPr txBox="1"/>
          <p:nvPr/>
        </p:nvSpPr>
        <p:spPr>
          <a:xfrm>
            <a:off x="1050053" y="3467700"/>
            <a:ext cx="96202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/>
              <a:t>Price Analysis and Sourcing Events</a:t>
            </a:r>
          </a:p>
        </p:txBody>
      </p:sp>
      <p:sp>
        <p:nvSpPr>
          <p:cNvPr id="25" name="Gleichschenkliges Dreieck 24">
            <a:extLst>
              <a:ext uri="{FF2B5EF4-FFF2-40B4-BE49-F238E27FC236}">
                <a16:creationId xmlns:a16="http://schemas.microsoft.com/office/drawing/2014/main" id="{30DAD2F7-DB1D-3B56-6D41-51804F80E059}"/>
              </a:ext>
            </a:extLst>
          </p:cNvPr>
          <p:cNvSpPr/>
          <p:nvPr/>
        </p:nvSpPr>
        <p:spPr>
          <a:xfrm rot="5400000">
            <a:off x="1833100" y="3703602"/>
            <a:ext cx="332534" cy="105277"/>
          </a:xfrm>
          <a:prstGeom prst="triangle">
            <a:avLst/>
          </a:prstGeom>
          <a:solidFill>
            <a:srgbClr val="7D3FAE"/>
          </a:solidFill>
          <a:ln w="9525">
            <a:solidFill>
              <a:srgbClr val="7D3FA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0878C29D-82A7-F1AA-2D6E-331A4BE68C9F}"/>
              </a:ext>
            </a:extLst>
          </p:cNvPr>
          <p:cNvSpPr txBox="1"/>
          <p:nvPr/>
        </p:nvSpPr>
        <p:spPr>
          <a:xfrm>
            <a:off x="2047030" y="3467700"/>
            <a:ext cx="179946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de-DE" sz="1050"/>
              <a:t>Material </a:t>
            </a:r>
            <a:r>
              <a:rPr lang="de-DE" sz="1050" err="1"/>
              <a:t>harmonized</a:t>
            </a:r>
            <a:endParaRPr lang="de-DE" sz="1050"/>
          </a:p>
          <a:p>
            <a:pPr marL="171450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de-DE" sz="1050" err="1"/>
              <a:t>Savings</a:t>
            </a:r>
            <a:r>
              <a:rPr lang="de-DE" sz="1050"/>
              <a:t> </a:t>
            </a:r>
            <a:r>
              <a:rPr lang="de-DE" sz="1050" err="1"/>
              <a:t>achieved</a:t>
            </a:r>
            <a:endParaRPr lang="de-DE" sz="1050"/>
          </a:p>
          <a:p>
            <a:pPr marL="171450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de-DE" sz="1050"/>
              <a:t>Supply </a:t>
            </a:r>
            <a:r>
              <a:rPr lang="de-DE" sz="1050" err="1"/>
              <a:t>strategy</a:t>
            </a:r>
            <a:r>
              <a:rPr lang="de-DE" sz="1050"/>
              <a:t> in </a:t>
            </a:r>
            <a:r>
              <a:rPr lang="de-DE" sz="1050" err="1"/>
              <a:t>place</a:t>
            </a:r>
            <a:endParaRPr lang="de-DE" sz="1050"/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C0057165-3BE3-6729-344E-9FAC6E4CB8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917" y="2957013"/>
            <a:ext cx="784727" cy="401138"/>
          </a:xfrm>
          <a:prstGeom prst="rect">
            <a:avLst/>
          </a:prstGeom>
        </p:spPr>
      </p:pic>
      <p:pic>
        <p:nvPicPr>
          <p:cNvPr id="7172" name="Picture 4" descr="Dollaranalyse balkendiagramm - Kostenlose geschäft-Icons">
            <a:extLst>
              <a:ext uri="{FF2B5EF4-FFF2-40B4-BE49-F238E27FC236}">
                <a16:creationId xmlns:a16="http://schemas.microsoft.com/office/drawing/2014/main" id="{21778106-3E72-06E1-EA7B-0F41FEEDC1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202" y="2926145"/>
            <a:ext cx="505625" cy="50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C3460E0C-5832-9F99-69F2-1A912F83E3EE}"/>
              </a:ext>
            </a:extLst>
          </p:cNvPr>
          <p:cNvSpPr txBox="1"/>
          <p:nvPr/>
        </p:nvSpPr>
        <p:spPr>
          <a:xfrm>
            <a:off x="187932" y="2279790"/>
            <a:ext cx="1472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/>
              <a:t>German Energy Provider</a:t>
            </a:r>
          </a:p>
        </p:txBody>
      </p:sp>
      <p:pic>
        <p:nvPicPr>
          <p:cNvPr id="32" name="Graphic 44">
            <a:extLst>
              <a:ext uri="{FF2B5EF4-FFF2-40B4-BE49-F238E27FC236}">
                <a16:creationId xmlns:a16="http://schemas.microsoft.com/office/drawing/2014/main" id="{D3D2267A-E131-D3B0-E128-357F3BFAC06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p:blipFill>
        <p:spPr>
          <a:xfrm>
            <a:off x="2575081" y="2919301"/>
            <a:ext cx="522402" cy="522402"/>
          </a:xfrm>
          <a:custGeom>
            <a:avLst/>
            <a:gdLst>
              <a:gd name="connsiteX0" fmla="*/ 0 w 672007"/>
              <a:gd name="connsiteY0" fmla="*/ 0 h 672007"/>
              <a:gd name="connsiteX1" fmla="*/ 672007 w 672007"/>
              <a:gd name="connsiteY1" fmla="*/ 0 h 672007"/>
              <a:gd name="connsiteX2" fmla="*/ 672007 w 672007"/>
              <a:gd name="connsiteY2" fmla="*/ 672007 h 672007"/>
              <a:gd name="connsiteX3" fmla="*/ 0 w 672007"/>
              <a:gd name="connsiteY3" fmla="*/ 672007 h 672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2007" h="672007">
                <a:moveTo>
                  <a:pt x="0" y="0"/>
                </a:moveTo>
                <a:lnTo>
                  <a:pt x="672007" y="0"/>
                </a:lnTo>
                <a:lnTo>
                  <a:pt x="672007" y="672007"/>
                </a:lnTo>
                <a:lnTo>
                  <a:pt x="0" y="672007"/>
                </a:lnTo>
                <a:close/>
              </a:path>
            </a:pathLst>
          </a:custGeom>
        </p:spPr>
      </p:pic>
      <p:pic>
        <p:nvPicPr>
          <p:cNvPr id="33" name="Picture 28">
            <a:extLst>
              <a:ext uri="{FF2B5EF4-FFF2-40B4-BE49-F238E27FC236}">
                <a16:creationId xmlns:a16="http://schemas.microsoft.com/office/drawing/2014/main" id="{ED845019-DA7C-A93E-0D47-50E4A758DB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45" b="26048"/>
          <a:stretch/>
        </p:blipFill>
        <p:spPr bwMode="auto">
          <a:xfrm>
            <a:off x="266205" y="4399783"/>
            <a:ext cx="1273086" cy="329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6">
            <a:extLst>
              <a:ext uri="{FF2B5EF4-FFF2-40B4-BE49-F238E27FC236}">
                <a16:creationId xmlns:a16="http://schemas.microsoft.com/office/drawing/2014/main" id="{8C839361-C16A-969F-E58D-7727ECDEE3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46728" y="4347918"/>
            <a:ext cx="1297581" cy="433633"/>
          </a:xfrm>
          <a:prstGeom prst="rect">
            <a:avLst/>
          </a:prstGeom>
        </p:spPr>
      </p:pic>
      <p:pic>
        <p:nvPicPr>
          <p:cNvPr id="35" name="Picture 6">
            <a:extLst>
              <a:ext uri="{FF2B5EF4-FFF2-40B4-BE49-F238E27FC236}">
                <a16:creationId xmlns:a16="http://schemas.microsoft.com/office/drawing/2014/main" id="{719BD73C-9A97-2C1C-19AB-2FB99FBC3A4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1889" y="4507476"/>
            <a:ext cx="1297581" cy="433633"/>
          </a:xfrm>
          <a:prstGeom prst="rect">
            <a:avLst/>
          </a:prstGeom>
        </p:spPr>
      </p:pic>
      <p:pic>
        <p:nvPicPr>
          <p:cNvPr id="36" name="Picture 12">
            <a:extLst>
              <a:ext uri="{FF2B5EF4-FFF2-40B4-BE49-F238E27FC236}">
                <a16:creationId xmlns:a16="http://schemas.microsoft.com/office/drawing/2014/main" id="{FEC74078-046C-E457-975C-37EBA79260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71" b="23003"/>
          <a:stretch/>
        </p:blipFill>
        <p:spPr bwMode="auto">
          <a:xfrm>
            <a:off x="10488368" y="4990973"/>
            <a:ext cx="1186236" cy="350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6" descr="AI+MUNICH - For Startups">
            <a:extLst>
              <a:ext uri="{FF2B5EF4-FFF2-40B4-BE49-F238E27FC236}">
                <a16:creationId xmlns:a16="http://schemas.microsoft.com/office/drawing/2014/main" id="{AF91EE26-9926-402A-CB4D-7A48B7504F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9590" y="5006192"/>
            <a:ext cx="984113" cy="320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feld 37">
            <a:extLst>
              <a:ext uri="{FF2B5EF4-FFF2-40B4-BE49-F238E27FC236}">
                <a16:creationId xmlns:a16="http://schemas.microsoft.com/office/drawing/2014/main" id="{E60AFA89-125C-6F0C-15B1-DD171B87BE81}"/>
              </a:ext>
            </a:extLst>
          </p:cNvPr>
          <p:cNvSpPr txBox="1"/>
          <p:nvPr/>
        </p:nvSpPr>
        <p:spPr>
          <a:xfrm>
            <a:off x="4296561" y="3546466"/>
            <a:ext cx="11160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/>
              <a:t>AI-</a:t>
            </a:r>
            <a:r>
              <a:rPr lang="de-DE" sz="1050" err="1"/>
              <a:t>based</a:t>
            </a:r>
            <a:r>
              <a:rPr lang="de-DE" sz="1050"/>
              <a:t> </a:t>
            </a:r>
            <a:r>
              <a:rPr lang="de-DE" sz="1050" err="1"/>
              <a:t>document</a:t>
            </a:r>
            <a:r>
              <a:rPr lang="de-DE" sz="1050"/>
              <a:t> </a:t>
            </a:r>
            <a:r>
              <a:rPr lang="de-DE" sz="1050" err="1"/>
              <a:t>reading</a:t>
            </a:r>
            <a:r>
              <a:rPr lang="de-DE" sz="1050"/>
              <a:t> &amp; </a:t>
            </a:r>
            <a:r>
              <a:rPr lang="de-DE" sz="1050" err="1"/>
              <a:t>understanding</a:t>
            </a:r>
            <a:endParaRPr lang="de-DE" sz="1050"/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AF9CEDA-B58B-5113-7ECF-B99AE0E831A5}"/>
              </a:ext>
            </a:extLst>
          </p:cNvPr>
          <p:cNvSpPr txBox="1"/>
          <p:nvPr/>
        </p:nvSpPr>
        <p:spPr>
          <a:xfrm>
            <a:off x="5426268" y="3627258"/>
            <a:ext cx="111601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/>
              <a:t>AI-</a:t>
            </a:r>
            <a:r>
              <a:rPr lang="de-DE" sz="1050" err="1"/>
              <a:t>matching</a:t>
            </a:r>
            <a:r>
              <a:rPr lang="de-DE" sz="1050"/>
              <a:t> and </a:t>
            </a:r>
            <a:r>
              <a:rPr lang="de-DE" sz="1050" err="1"/>
              <a:t>comparison</a:t>
            </a:r>
            <a:r>
              <a:rPr lang="de-DE" sz="1050"/>
              <a:t> </a:t>
            </a:r>
            <a:r>
              <a:rPr lang="de-DE" sz="1050" err="1"/>
              <a:t>with</a:t>
            </a:r>
            <a:r>
              <a:rPr lang="de-DE" sz="1050"/>
              <a:t> ERP </a:t>
            </a:r>
            <a:r>
              <a:rPr lang="de-DE" sz="1050" err="1"/>
              <a:t>data</a:t>
            </a:r>
            <a:endParaRPr lang="de-DE" sz="105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F1E72DB-8723-0C7E-4396-D8543B29953C}"/>
              </a:ext>
            </a:extLst>
          </p:cNvPr>
          <p:cNvSpPr txBox="1"/>
          <p:nvPr/>
        </p:nvSpPr>
        <p:spPr>
          <a:xfrm>
            <a:off x="6723166" y="3708049"/>
            <a:ext cx="111601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/>
              <a:t>Data </a:t>
            </a:r>
            <a:r>
              <a:rPr lang="de-DE" sz="1050" err="1"/>
              <a:t>provision</a:t>
            </a:r>
            <a:r>
              <a:rPr lang="de-DE" sz="1050"/>
              <a:t> and -</a:t>
            </a:r>
            <a:r>
              <a:rPr lang="de-DE" sz="1050" err="1"/>
              <a:t>correction</a:t>
            </a:r>
            <a:endParaRPr lang="de-DE" sz="1050"/>
          </a:p>
        </p:txBody>
      </p:sp>
      <p:sp>
        <p:nvSpPr>
          <p:cNvPr id="41" name="Gleichschenkliges Dreieck 40">
            <a:extLst>
              <a:ext uri="{FF2B5EF4-FFF2-40B4-BE49-F238E27FC236}">
                <a16:creationId xmlns:a16="http://schemas.microsoft.com/office/drawing/2014/main" id="{A6499235-0597-67B9-92F1-2EE82F2C2BB6}"/>
              </a:ext>
            </a:extLst>
          </p:cNvPr>
          <p:cNvSpPr/>
          <p:nvPr/>
        </p:nvSpPr>
        <p:spPr>
          <a:xfrm rot="5400000">
            <a:off x="5157501" y="3863160"/>
            <a:ext cx="332534" cy="105277"/>
          </a:xfrm>
          <a:prstGeom prst="triangle">
            <a:avLst/>
          </a:prstGeom>
          <a:solidFill>
            <a:srgbClr val="7D3FAE"/>
          </a:solidFill>
          <a:ln w="9525">
            <a:solidFill>
              <a:srgbClr val="7D3FA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42" name="Gleichschenkliges Dreieck 41">
            <a:extLst>
              <a:ext uri="{FF2B5EF4-FFF2-40B4-BE49-F238E27FC236}">
                <a16:creationId xmlns:a16="http://schemas.microsoft.com/office/drawing/2014/main" id="{8756F57D-58B8-4BA8-A81F-289A9107CDC0}"/>
              </a:ext>
            </a:extLst>
          </p:cNvPr>
          <p:cNvSpPr/>
          <p:nvPr/>
        </p:nvSpPr>
        <p:spPr>
          <a:xfrm rot="5400000">
            <a:off x="6468090" y="3863160"/>
            <a:ext cx="332534" cy="105277"/>
          </a:xfrm>
          <a:prstGeom prst="triangle">
            <a:avLst/>
          </a:prstGeom>
          <a:solidFill>
            <a:srgbClr val="7D3FAE"/>
          </a:solidFill>
          <a:ln w="9525">
            <a:solidFill>
              <a:srgbClr val="7D3FA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grpSp>
        <p:nvGrpSpPr>
          <p:cNvPr id="43" name="Gruppieren 4">
            <a:extLst>
              <a:ext uri="{FF2B5EF4-FFF2-40B4-BE49-F238E27FC236}">
                <a16:creationId xmlns:a16="http://schemas.microsoft.com/office/drawing/2014/main" id="{19CB8BE3-FAFD-2987-FF3E-BCDB686D6AF1}"/>
              </a:ext>
            </a:extLst>
          </p:cNvPr>
          <p:cNvGrpSpPr/>
          <p:nvPr/>
        </p:nvGrpSpPr>
        <p:grpSpPr>
          <a:xfrm>
            <a:off x="4475036" y="3110703"/>
            <a:ext cx="465781" cy="427697"/>
            <a:chOff x="6880789" y="1046028"/>
            <a:chExt cx="4270720" cy="4971133"/>
          </a:xfrm>
        </p:grpSpPr>
        <p:pic>
          <p:nvPicPr>
            <p:cNvPr id="44" name="Grafik 5">
              <a:extLst>
                <a:ext uri="{FF2B5EF4-FFF2-40B4-BE49-F238E27FC236}">
                  <a16:creationId xmlns:a16="http://schemas.microsoft.com/office/drawing/2014/main" id="{5A2A2E46-C6E9-224B-B3FE-F3DA807C8F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082690" y="1431160"/>
              <a:ext cx="2312267" cy="327530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5" name="Grafik 6">
              <a:extLst>
                <a:ext uri="{FF2B5EF4-FFF2-40B4-BE49-F238E27FC236}">
                  <a16:creationId xmlns:a16="http://schemas.microsoft.com/office/drawing/2014/main" id="{261D89E8-7129-3FC0-27F4-286058A407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417943" y="1486741"/>
              <a:ext cx="1733566" cy="247914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6" name="Grafik 7">
              <a:extLst>
                <a:ext uri="{FF2B5EF4-FFF2-40B4-BE49-F238E27FC236}">
                  <a16:creationId xmlns:a16="http://schemas.microsoft.com/office/drawing/2014/main" id="{CD787302-BEC0-C9C0-5FDA-824FF15B81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967554" y="3019807"/>
              <a:ext cx="1902885" cy="262202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7" name="Grafik 8">
              <a:extLst>
                <a:ext uri="{FF2B5EF4-FFF2-40B4-BE49-F238E27FC236}">
                  <a16:creationId xmlns:a16="http://schemas.microsoft.com/office/drawing/2014/main" id="{815C5A3C-083A-5167-E129-4D187A77D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880789" y="2369893"/>
              <a:ext cx="2263382" cy="316775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8" name="Grafik 9">
              <a:extLst>
                <a:ext uri="{FF2B5EF4-FFF2-40B4-BE49-F238E27FC236}">
                  <a16:creationId xmlns:a16="http://schemas.microsoft.com/office/drawing/2014/main" id="{EAC3DF46-6106-EC27-7381-98866CE619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034666" y="1046028"/>
              <a:ext cx="1882684" cy="273110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9" name="Grafik 10">
              <a:extLst>
                <a:ext uri="{FF2B5EF4-FFF2-40B4-BE49-F238E27FC236}">
                  <a16:creationId xmlns:a16="http://schemas.microsoft.com/office/drawing/2014/main" id="{E5E286CA-8683-39AC-6219-A2E4D4192E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531623" y="2028858"/>
              <a:ext cx="1565955" cy="224041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0" name="Grafik 11">
              <a:extLst>
                <a:ext uri="{FF2B5EF4-FFF2-40B4-BE49-F238E27FC236}">
                  <a16:creationId xmlns:a16="http://schemas.microsoft.com/office/drawing/2014/main" id="{A7D50C2A-D391-AA7F-91C9-811759F99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230127" y="2741856"/>
              <a:ext cx="2312267" cy="327530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63" name="Grafik 62">
            <a:extLst>
              <a:ext uri="{FF2B5EF4-FFF2-40B4-BE49-F238E27FC236}">
                <a16:creationId xmlns:a16="http://schemas.microsoft.com/office/drawing/2014/main" id="{AAA25211-F0CF-A8B3-54C4-601DC04A4699}"/>
              </a:ext>
            </a:extLst>
          </p:cNvPr>
          <p:cNvPicPr>
            <a:picLocks noChangeAspect="1"/>
          </p:cNvPicPr>
          <p:nvPr/>
        </p:nvPicPr>
        <p:blipFill>
          <a:blip r:embed="rId25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679294" y="3110039"/>
            <a:ext cx="489944" cy="537358"/>
          </a:xfrm>
          <a:prstGeom prst="rect">
            <a:avLst/>
          </a:prstGeom>
        </p:spPr>
      </p:pic>
      <p:pic>
        <p:nvPicPr>
          <p:cNvPr id="7188" name="Grafik 7187">
            <a:extLst>
              <a:ext uri="{FF2B5EF4-FFF2-40B4-BE49-F238E27FC236}">
                <a16:creationId xmlns:a16="http://schemas.microsoft.com/office/drawing/2014/main" id="{6508D438-F234-7143-ABD6-23261FF3DD29}"/>
              </a:ext>
            </a:extLst>
          </p:cNvPr>
          <p:cNvPicPr>
            <a:picLocks noChangeAspect="1"/>
          </p:cNvPicPr>
          <p:nvPr/>
        </p:nvPicPr>
        <p:blipFill>
          <a:blip r:embed="rId26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482822" y="3152089"/>
            <a:ext cx="1352320" cy="525902"/>
          </a:xfrm>
          <a:prstGeom prst="rect">
            <a:avLst/>
          </a:prstGeom>
        </p:spPr>
      </p:pic>
      <p:sp>
        <p:nvSpPr>
          <p:cNvPr id="7189" name="Textfeld 7188">
            <a:extLst>
              <a:ext uri="{FF2B5EF4-FFF2-40B4-BE49-F238E27FC236}">
                <a16:creationId xmlns:a16="http://schemas.microsoft.com/office/drawing/2014/main" id="{E994A445-636D-0E45-BAC4-ED313217D05D}"/>
              </a:ext>
            </a:extLst>
          </p:cNvPr>
          <p:cNvSpPr txBox="1"/>
          <p:nvPr/>
        </p:nvSpPr>
        <p:spPr>
          <a:xfrm>
            <a:off x="8524685" y="3988628"/>
            <a:ext cx="13779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err="1"/>
              <a:t>Coupa</a:t>
            </a:r>
            <a:r>
              <a:rPr lang="de-DE" sz="1050"/>
              <a:t> </a:t>
            </a:r>
            <a:r>
              <a:rPr lang="de-DE" sz="1050" err="1"/>
              <a:t>implementation</a:t>
            </a:r>
            <a:r>
              <a:rPr lang="de-DE" sz="1050"/>
              <a:t> </a:t>
            </a:r>
            <a:r>
              <a:rPr lang="de-DE" sz="1050" err="1"/>
              <a:t>with</a:t>
            </a:r>
            <a:r>
              <a:rPr lang="de-DE" sz="1050"/>
              <a:t> </a:t>
            </a:r>
            <a:r>
              <a:rPr lang="de-DE" sz="1050" err="1"/>
              <a:t>elaborated</a:t>
            </a:r>
            <a:r>
              <a:rPr lang="de-DE" sz="1050"/>
              <a:t> Change </a:t>
            </a:r>
            <a:r>
              <a:rPr lang="de-DE" sz="1050" err="1"/>
              <a:t>Mgmt</a:t>
            </a:r>
            <a:r>
              <a:rPr lang="de-DE" sz="1050"/>
              <a:t>. Approach</a:t>
            </a:r>
          </a:p>
        </p:txBody>
      </p:sp>
      <p:sp>
        <p:nvSpPr>
          <p:cNvPr id="7190" name="Gleichschenkliges Dreieck 7189">
            <a:extLst>
              <a:ext uri="{FF2B5EF4-FFF2-40B4-BE49-F238E27FC236}">
                <a16:creationId xmlns:a16="http://schemas.microsoft.com/office/drawing/2014/main" id="{A3B9FC43-E0C5-E395-7370-59549C05A985}"/>
              </a:ext>
            </a:extLst>
          </p:cNvPr>
          <p:cNvSpPr/>
          <p:nvPr/>
        </p:nvSpPr>
        <p:spPr>
          <a:xfrm rot="5400000">
            <a:off x="9721891" y="4305322"/>
            <a:ext cx="332534" cy="105277"/>
          </a:xfrm>
          <a:prstGeom prst="triangle">
            <a:avLst/>
          </a:prstGeom>
          <a:solidFill>
            <a:srgbClr val="7D3FAE"/>
          </a:solidFill>
          <a:ln w="9525">
            <a:solidFill>
              <a:srgbClr val="7D3FA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7191" name="Textfeld 7190">
            <a:extLst>
              <a:ext uri="{FF2B5EF4-FFF2-40B4-BE49-F238E27FC236}">
                <a16:creationId xmlns:a16="http://schemas.microsoft.com/office/drawing/2014/main" id="{93C7C205-36E7-D856-9B6A-6D97A3B724F5}"/>
              </a:ext>
            </a:extLst>
          </p:cNvPr>
          <p:cNvSpPr txBox="1"/>
          <p:nvPr/>
        </p:nvSpPr>
        <p:spPr>
          <a:xfrm>
            <a:off x="9906790" y="3988628"/>
            <a:ext cx="10296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/>
              <a:t>AI-</a:t>
            </a:r>
            <a:r>
              <a:rPr lang="de-DE" sz="1050" err="1"/>
              <a:t>powered</a:t>
            </a:r>
            <a:r>
              <a:rPr lang="de-DE" sz="1050"/>
              <a:t> </a:t>
            </a:r>
            <a:r>
              <a:rPr lang="de-DE" sz="1050" err="1"/>
              <a:t>guided</a:t>
            </a:r>
            <a:r>
              <a:rPr lang="de-DE" sz="1050"/>
              <a:t> </a:t>
            </a:r>
            <a:r>
              <a:rPr lang="de-DE" sz="1050" err="1"/>
              <a:t>buying</a:t>
            </a:r>
            <a:r>
              <a:rPr lang="de-DE" sz="1050"/>
              <a:t> and </a:t>
            </a:r>
            <a:r>
              <a:rPr lang="de-DE" sz="1050" err="1"/>
              <a:t>user</a:t>
            </a:r>
            <a:r>
              <a:rPr lang="de-DE" sz="1050"/>
              <a:t> support </a:t>
            </a:r>
          </a:p>
        </p:txBody>
      </p:sp>
      <p:sp>
        <p:nvSpPr>
          <p:cNvPr id="7192" name="Textfeld 7191">
            <a:extLst>
              <a:ext uri="{FF2B5EF4-FFF2-40B4-BE49-F238E27FC236}">
                <a16:creationId xmlns:a16="http://schemas.microsoft.com/office/drawing/2014/main" id="{AC69A850-C590-83CC-8B00-97CC823C0681}"/>
              </a:ext>
            </a:extLst>
          </p:cNvPr>
          <p:cNvSpPr txBox="1"/>
          <p:nvPr/>
        </p:nvSpPr>
        <p:spPr>
          <a:xfrm>
            <a:off x="10813066" y="4106012"/>
            <a:ext cx="138629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de-DE" sz="1050" err="1"/>
              <a:t>Improved</a:t>
            </a:r>
            <a:r>
              <a:rPr lang="de-DE" sz="1050"/>
              <a:t> </a:t>
            </a:r>
            <a:r>
              <a:rPr lang="de-DE" sz="1050" err="1"/>
              <a:t>process</a:t>
            </a:r>
            <a:r>
              <a:rPr lang="de-DE" sz="1050"/>
              <a:t> </a:t>
            </a:r>
            <a:r>
              <a:rPr lang="de-DE" sz="1050" err="1"/>
              <a:t>efficiency</a:t>
            </a:r>
            <a:endParaRPr lang="de-DE" sz="1050"/>
          </a:p>
          <a:p>
            <a:pPr marL="171450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de-DE" sz="1050"/>
              <a:t>High </a:t>
            </a:r>
            <a:r>
              <a:rPr lang="de-DE" sz="1050" err="1"/>
              <a:t>adoption</a:t>
            </a:r>
            <a:r>
              <a:rPr lang="de-DE" sz="1050"/>
              <a:t> rate</a:t>
            </a:r>
          </a:p>
        </p:txBody>
      </p:sp>
      <p:sp>
        <p:nvSpPr>
          <p:cNvPr id="7193" name="Gleichschenkliges Dreieck 7192">
            <a:extLst>
              <a:ext uri="{FF2B5EF4-FFF2-40B4-BE49-F238E27FC236}">
                <a16:creationId xmlns:a16="http://schemas.microsoft.com/office/drawing/2014/main" id="{78C0E268-EED0-9BE3-CBEB-9A7DDDCDEEA4}"/>
              </a:ext>
            </a:extLst>
          </p:cNvPr>
          <p:cNvSpPr/>
          <p:nvPr/>
        </p:nvSpPr>
        <p:spPr>
          <a:xfrm rot="5400000">
            <a:off x="10713333" y="4305322"/>
            <a:ext cx="332534" cy="105277"/>
          </a:xfrm>
          <a:prstGeom prst="triangle">
            <a:avLst/>
          </a:prstGeom>
          <a:solidFill>
            <a:srgbClr val="7D3FAE"/>
          </a:solidFill>
          <a:ln w="9525">
            <a:solidFill>
              <a:srgbClr val="7D3FA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pic>
        <p:nvPicPr>
          <p:cNvPr id="7198" name="Picture 12">
            <a:extLst>
              <a:ext uri="{FF2B5EF4-FFF2-40B4-BE49-F238E27FC236}">
                <a16:creationId xmlns:a16="http://schemas.microsoft.com/office/drawing/2014/main" id="{3FA40960-7EEB-2FAA-CEE2-9B6130132B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71" b="23003"/>
          <a:stretch/>
        </p:blipFill>
        <p:spPr bwMode="auto">
          <a:xfrm>
            <a:off x="8687634" y="3690100"/>
            <a:ext cx="709730" cy="209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99" name="Picture 26" descr="AI+MUNICH - For Startups">
            <a:extLst>
              <a:ext uri="{FF2B5EF4-FFF2-40B4-BE49-F238E27FC236}">
                <a16:creationId xmlns:a16="http://schemas.microsoft.com/office/drawing/2014/main" id="{D2B31921-667B-B458-8C03-AC14A371BD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0326" y="3680169"/>
            <a:ext cx="661158" cy="215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00" name="Picture 6" descr="1,518 Technology Adoption Icon Stock Vectors and Vector Art | Shutterstock">
            <a:extLst>
              <a:ext uri="{FF2B5EF4-FFF2-40B4-BE49-F238E27FC236}">
                <a16:creationId xmlns:a16="http://schemas.microsoft.com/office/drawing/2014/main" id="{C804123A-225E-E31D-CF22-EB929CFC5A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10357"/>
          <a:stretch/>
        </p:blipFill>
        <p:spPr bwMode="auto">
          <a:xfrm>
            <a:off x="11280343" y="3578582"/>
            <a:ext cx="483081" cy="44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02" name="Textfeld 7201">
            <a:extLst>
              <a:ext uri="{FF2B5EF4-FFF2-40B4-BE49-F238E27FC236}">
                <a16:creationId xmlns:a16="http://schemas.microsoft.com/office/drawing/2014/main" id="{D8B02B7D-75E5-70C9-671E-CF896316D727}"/>
              </a:ext>
            </a:extLst>
          </p:cNvPr>
          <p:cNvSpPr txBox="1"/>
          <p:nvPr/>
        </p:nvSpPr>
        <p:spPr>
          <a:xfrm>
            <a:off x="735758" y="5159865"/>
            <a:ext cx="20242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>
                <a:solidFill>
                  <a:schemeClr val="tx2"/>
                </a:solidFill>
              </a:rPr>
              <a:t>~12% Savings achieved</a:t>
            </a:r>
          </a:p>
        </p:txBody>
      </p:sp>
      <p:pic>
        <p:nvPicPr>
          <p:cNvPr id="7203" name="Picture 8">
            <a:extLst>
              <a:ext uri="{FF2B5EF4-FFF2-40B4-BE49-F238E27FC236}">
                <a16:creationId xmlns:a16="http://schemas.microsoft.com/office/drawing/2014/main" id="{904528BE-5B04-F4FD-882E-E9775E82D7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771" y="4523534"/>
            <a:ext cx="810657" cy="40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05" name="Textfeld 7204">
            <a:extLst>
              <a:ext uri="{FF2B5EF4-FFF2-40B4-BE49-F238E27FC236}">
                <a16:creationId xmlns:a16="http://schemas.microsoft.com/office/drawing/2014/main" id="{7CCA91DD-1F1E-F813-123C-F6C11DD50B11}"/>
              </a:ext>
            </a:extLst>
          </p:cNvPr>
          <p:cNvSpPr txBox="1"/>
          <p:nvPr/>
        </p:nvSpPr>
        <p:spPr>
          <a:xfrm>
            <a:off x="4607578" y="5257883"/>
            <a:ext cx="29018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>
                <a:solidFill>
                  <a:schemeClr val="tx2"/>
                </a:solidFill>
              </a:rPr>
              <a:t>~300k € savings in Pilot</a:t>
            </a:r>
          </a:p>
          <a:p>
            <a:pPr algn="ctr"/>
            <a:r>
              <a:rPr lang="en-US" sz="1800" b="1">
                <a:solidFill>
                  <a:schemeClr val="tx2"/>
                </a:solidFill>
              </a:rPr>
              <a:t>Up to 7m € savings in productive usag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5B3460A-E61D-5986-0020-EC7AA7ECC5E8}"/>
              </a:ext>
            </a:extLst>
          </p:cNvPr>
          <p:cNvSpPr/>
          <p:nvPr/>
        </p:nvSpPr>
        <p:spPr>
          <a:xfrm>
            <a:off x="3775871" y="1534987"/>
            <a:ext cx="453708" cy="4842411"/>
          </a:xfrm>
          <a:custGeom>
            <a:avLst/>
            <a:gdLst>
              <a:gd name="connsiteX0" fmla="*/ 0 w 434658"/>
              <a:gd name="connsiteY0" fmla="*/ 0 h 4842411"/>
              <a:gd name="connsiteX1" fmla="*/ 434658 w 434658"/>
              <a:gd name="connsiteY1" fmla="*/ 0 h 4842411"/>
              <a:gd name="connsiteX2" fmla="*/ 434658 w 434658"/>
              <a:gd name="connsiteY2" fmla="*/ 4842411 h 4842411"/>
              <a:gd name="connsiteX3" fmla="*/ 0 w 434658"/>
              <a:gd name="connsiteY3" fmla="*/ 4842411 h 4842411"/>
              <a:gd name="connsiteX4" fmla="*/ 0 w 434658"/>
              <a:gd name="connsiteY4" fmla="*/ 0 h 4842411"/>
              <a:gd name="connsiteX0" fmla="*/ 0 w 453708"/>
              <a:gd name="connsiteY0" fmla="*/ 0 h 4842411"/>
              <a:gd name="connsiteX1" fmla="*/ 453708 w 453708"/>
              <a:gd name="connsiteY1" fmla="*/ 323850 h 4842411"/>
              <a:gd name="connsiteX2" fmla="*/ 434658 w 453708"/>
              <a:gd name="connsiteY2" fmla="*/ 4842411 h 4842411"/>
              <a:gd name="connsiteX3" fmla="*/ 0 w 453708"/>
              <a:gd name="connsiteY3" fmla="*/ 4842411 h 4842411"/>
              <a:gd name="connsiteX4" fmla="*/ 0 w 453708"/>
              <a:gd name="connsiteY4" fmla="*/ 0 h 4842411"/>
              <a:gd name="connsiteX0" fmla="*/ 0 w 453708"/>
              <a:gd name="connsiteY0" fmla="*/ 0 h 4842411"/>
              <a:gd name="connsiteX1" fmla="*/ 453708 w 453708"/>
              <a:gd name="connsiteY1" fmla="*/ 323850 h 4842411"/>
              <a:gd name="connsiteX2" fmla="*/ 434658 w 453708"/>
              <a:gd name="connsiteY2" fmla="*/ 4842411 h 4842411"/>
              <a:gd name="connsiteX3" fmla="*/ 0 w 453708"/>
              <a:gd name="connsiteY3" fmla="*/ 4537611 h 4842411"/>
              <a:gd name="connsiteX4" fmla="*/ 0 w 453708"/>
              <a:gd name="connsiteY4" fmla="*/ 0 h 4842411"/>
              <a:gd name="connsiteX0" fmla="*/ 0 w 453708"/>
              <a:gd name="connsiteY0" fmla="*/ 0 h 4842411"/>
              <a:gd name="connsiteX1" fmla="*/ 453708 w 453708"/>
              <a:gd name="connsiteY1" fmla="*/ 323850 h 4842411"/>
              <a:gd name="connsiteX2" fmla="*/ 434658 w 453708"/>
              <a:gd name="connsiteY2" fmla="*/ 4842411 h 4842411"/>
              <a:gd name="connsiteX3" fmla="*/ 0 w 453708"/>
              <a:gd name="connsiteY3" fmla="*/ 4524911 h 4842411"/>
              <a:gd name="connsiteX4" fmla="*/ 0 w 453708"/>
              <a:gd name="connsiteY4" fmla="*/ 0 h 4842411"/>
              <a:gd name="connsiteX0" fmla="*/ 0 w 453708"/>
              <a:gd name="connsiteY0" fmla="*/ 0 h 4842411"/>
              <a:gd name="connsiteX1" fmla="*/ 453708 w 453708"/>
              <a:gd name="connsiteY1" fmla="*/ 323850 h 4842411"/>
              <a:gd name="connsiteX2" fmla="*/ 434658 w 453708"/>
              <a:gd name="connsiteY2" fmla="*/ 4842411 h 4842411"/>
              <a:gd name="connsiteX3" fmla="*/ 0 w 453708"/>
              <a:gd name="connsiteY3" fmla="*/ 4512211 h 4842411"/>
              <a:gd name="connsiteX4" fmla="*/ 0 w 453708"/>
              <a:gd name="connsiteY4" fmla="*/ 0 h 4842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708" h="4842411">
                <a:moveTo>
                  <a:pt x="0" y="0"/>
                </a:moveTo>
                <a:lnTo>
                  <a:pt x="453708" y="323850"/>
                </a:lnTo>
                <a:lnTo>
                  <a:pt x="434658" y="4842411"/>
                </a:lnTo>
                <a:lnTo>
                  <a:pt x="0" y="451221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28" name="Rechteck 26">
            <a:extLst>
              <a:ext uri="{FF2B5EF4-FFF2-40B4-BE49-F238E27FC236}">
                <a16:creationId xmlns:a16="http://schemas.microsoft.com/office/drawing/2014/main" id="{4C892641-A10F-726B-BFF2-3648DED7FE1F}"/>
              </a:ext>
            </a:extLst>
          </p:cNvPr>
          <p:cNvSpPr/>
          <p:nvPr/>
        </p:nvSpPr>
        <p:spPr>
          <a:xfrm>
            <a:off x="7999196" y="1871224"/>
            <a:ext cx="453708" cy="4829711"/>
          </a:xfrm>
          <a:custGeom>
            <a:avLst/>
            <a:gdLst>
              <a:gd name="connsiteX0" fmla="*/ 0 w 434658"/>
              <a:gd name="connsiteY0" fmla="*/ 0 h 4842411"/>
              <a:gd name="connsiteX1" fmla="*/ 434658 w 434658"/>
              <a:gd name="connsiteY1" fmla="*/ 0 h 4842411"/>
              <a:gd name="connsiteX2" fmla="*/ 434658 w 434658"/>
              <a:gd name="connsiteY2" fmla="*/ 4842411 h 4842411"/>
              <a:gd name="connsiteX3" fmla="*/ 0 w 434658"/>
              <a:gd name="connsiteY3" fmla="*/ 4842411 h 4842411"/>
              <a:gd name="connsiteX4" fmla="*/ 0 w 434658"/>
              <a:gd name="connsiteY4" fmla="*/ 0 h 4842411"/>
              <a:gd name="connsiteX0" fmla="*/ 0 w 453708"/>
              <a:gd name="connsiteY0" fmla="*/ 0 h 4842411"/>
              <a:gd name="connsiteX1" fmla="*/ 453708 w 453708"/>
              <a:gd name="connsiteY1" fmla="*/ 323850 h 4842411"/>
              <a:gd name="connsiteX2" fmla="*/ 434658 w 453708"/>
              <a:gd name="connsiteY2" fmla="*/ 4842411 h 4842411"/>
              <a:gd name="connsiteX3" fmla="*/ 0 w 453708"/>
              <a:gd name="connsiteY3" fmla="*/ 4842411 h 4842411"/>
              <a:gd name="connsiteX4" fmla="*/ 0 w 453708"/>
              <a:gd name="connsiteY4" fmla="*/ 0 h 4842411"/>
              <a:gd name="connsiteX0" fmla="*/ 0 w 453708"/>
              <a:gd name="connsiteY0" fmla="*/ 0 h 4842411"/>
              <a:gd name="connsiteX1" fmla="*/ 453708 w 453708"/>
              <a:gd name="connsiteY1" fmla="*/ 323850 h 4842411"/>
              <a:gd name="connsiteX2" fmla="*/ 434658 w 453708"/>
              <a:gd name="connsiteY2" fmla="*/ 4842411 h 4842411"/>
              <a:gd name="connsiteX3" fmla="*/ 0 w 453708"/>
              <a:gd name="connsiteY3" fmla="*/ 4537611 h 4842411"/>
              <a:gd name="connsiteX4" fmla="*/ 0 w 453708"/>
              <a:gd name="connsiteY4" fmla="*/ 0 h 4842411"/>
              <a:gd name="connsiteX0" fmla="*/ 0 w 453708"/>
              <a:gd name="connsiteY0" fmla="*/ 0 h 4842411"/>
              <a:gd name="connsiteX1" fmla="*/ 453708 w 453708"/>
              <a:gd name="connsiteY1" fmla="*/ 323850 h 4842411"/>
              <a:gd name="connsiteX2" fmla="*/ 434658 w 453708"/>
              <a:gd name="connsiteY2" fmla="*/ 4842411 h 4842411"/>
              <a:gd name="connsiteX3" fmla="*/ 0 w 453708"/>
              <a:gd name="connsiteY3" fmla="*/ 4524911 h 4842411"/>
              <a:gd name="connsiteX4" fmla="*/ 0 w 453708"/>
              <a:gd name="connsiteY4" fmla="*/ 0 h 4842411"/>
              <a:gd name="connsiteX0" fmla="*/ 0 w 453708"/>
              <a:gd name="connsiteY0" fmla="*/ 0 h 4842411"/>
              <a:gd name="connsiteX1" fmla="*/ 453708 w 453708"/>
              <a:gd name="connsiteY1" fmla="*/ 323850 h 4842411"/>
              <a:gd name="connsiteX2" fmla="*/ 434658 w 453708"/>
              <a:gd name="connsiteY2" fmla="*/ 4842411 h 4842411"/>
              <a:gd name="connsiteX3" fmla="*/ 0 w 453708"/>
              <a:gd name="connsiteY3" fmla="*/ 4512211 h 4842411"/>
              <a:gd name="connsiteX4" fmla="*/ 0 w 453708"/>
              <a:gd name="connsiteY4" fmla="*/ 0 h 4842411"/>
              <a:gd name="connsiteX0" fmla="*/ 0 w 453708"/>
              <a:gd name="connsiteY0" fmla="*/ 0 h 4829711"/>
              <a:gd name="connsiteX1" fmla="*/ 453708 w 453708"/>
              <a:gd name="connsiteY1" fmla="*/ 311150 h 4829711"/>
              <a:gd name="connsiteX2" fmla="*/ 434658 w 453708"/>
              <a:gd name="connsiteY2" fmla="*/ 4829711 h 4829711"/>
              <a:gd name="connsiteX3" fmla="*/ 0 w 453708"/>
              <a:gd name="connsiteY3" fmla="*/ 4499511 h 4829711"/>
              <a:gd name="connsiteX4" fmla="*/ 0 w 453708"/>
              <a:gd name="connsiteY4" fmla="*/ 0 h 4829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708" h="4829711">
                <a:moveTo>
                  <a:pt x="0" y="0"/>
                </a:moveTo>
                <a:lnTo>
                  <a:pt x="453708" y="311150"/>
                </a:lnTo>
                <a:lnTo>
                  <a:pt x="434658" y="4829711"/>
                </a:lnTo>
                <a:lnTo>
                  <a:pt x="0" y="449951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5308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75BE3E-5E24-E7A6-DC6C-379C961243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Selected </a:t>
            </a:r>
            <a:r>
              <a:rPr lang="de-DE" err="1"/>
              <a:t>use</a:t>
            </a:r>
            <a:r>
              <a:rPr lang="de-DE"/>
              <a:t> Cases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selected</a:t>
            </a:r>
            <a:r>
              <a:rPr lang="de-DE"/>
              <a:t> </a:t>
            </a:r>
            <a:r>
              <a:rPr lang="de-DE" err="1"/>
              <a:t>clients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6292A-BA73-B873-FC03-B419E3E7E6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663112"/>
            <a:ext cx="10944225" cy="369334"/>
          </a:xfrm>
        </p:spPr>
        <p:txBody>
          <a:bodyPr>
            <a:normAutofit fontScale="90000"/>
          </a:bodyPr>
          <a:lstStyle/>
          <a:p>
            <a:r>
              <a:rPr lang="de-DE"/>
              <a:t>Use Case: CONTRACT READING &amp; -ANALYSIS</a:t>
            </a:r>
            <a:br>
              <a:rPr lang="de-DE"/>
            </a:br>
            <a:endParaRPr lang="de-DE"/>
          </a:p>
        </p:txBody>
      </p:sp>
      <p:grpSp>
        <p:nvGrpSpPr>
          <p:cNvPr id="6208" name="Gruppieren 6207">
            <a:extLst>
              <a:ext uri="{FF2B5EF4-FFF2-40B4-BE49-F238E27FC236}">
                <a16:creationId xmlns:a16="http://schemas.microsoft.com/office/drawing/2014/main" id="{1BE074DF-8E7C-6225-E5D7-B9432FAC2AA9}"/>
              </a:ext>
            </a:extLst>
          </p:cNvPr>
          <p:cNvGrpSpPr/>
          <p:nvPr/>
        </p:nvGrpSpPr>
        <p:grpSpPr>
          <a:xfrm>
            <a:off x="998439" y="2476220"/>
            <a:ext cx="2651782" cy="2806075"/>
            <a:chOff x="6880789" y="1046028"/>
            <a:chExt cx="4270720" cy="4971133"/>
          </a:xfrm>
        </p:grpSpPr>
        <p:pic>
          <p:nvPicPr>
            <p:cNvPr id="6209" name="Grafik 6208">
              <a:extLst>
                <a:ext uri="{FF2B5EF4-FFF2-40B4-BE49-F238E27FC236}">
                  <a16:creationId xmlns:a16="http://schemas.microsoft.com/office/drawing/2014/main" id="{D7EB145D-CF7C-B12E-B344-90D36B1055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082690" y="1431160"/>
              <a:ext cx="2312267" cy="3275305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210" name="Grafik 6209">
              <a:extLst>
                <a:ext uri="{FF2B5EF4-FFF2-40B4-BE49-F238E27FC236}">
                  <a16:creationId xmlns:a16="http://schemas.microsoft.com/office/drawing/2014/main" id="{1DFC7DDE-3720-C975-5130-56291D68DAE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417943" y="1486741"/>
              <a:ext cx="1733566" cy="2479149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211" name="Grafik 6210">
              <a:extLst>
                <a:ext uri="{FF2B5EF4-FFF2-40B4-BE49-F238E27FC236}">
                  <a16:creationId xmlns:a16="http://schemas.microsoft.com/office/drawing/2014/main" id="{7C118447-F1A5-E5E8-DC56-597BA455C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967554" y="3019807"/>
              <a:ext cx="1902885" cy="2622021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212" name="Grafik 6211">
              <a:extLst>
                <a:ext uri="{FF2B5EF4-FFF2-40B4-BE49-F238E27FC236}">
                  <a16:creationId xmlns:a16="http://schemas.microsoft.com/office/drawing/2014/main" id="{406F8502-3D2E-BA64-F8EF-CFE3A54D2A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880789" y="2369893"/>
              <a:ext cx="2263382" cy="3167757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213" name="Grafik 6212">
              <a:extLst>
                <a:ext uri="{FF2B5EF4-FFF2-40B4-BE49-F238E27FC236}">
                  <a16:creationId xmlns:a16="http://schemas.microsoft.com/office/drawing/2014/main" id="{0DC3CD9E-0DEB-562C-DB97-AED49D5A64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034666" y="1046028"/>
              <a:ext cx="1882684" cy="2731104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214" name="Grafik 6213">
              <a:extLst>
                <a:ext uri="{FF2B5EF4-FFF2-40B4-BE49-F238E27FC236}">
                  <a16:creationId xmlns:a16="http://schemas.microsoft.com/office/drawing/2014/main" id="{11CFA234-0098-ED85-E2CA-5BFF7F4814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531623" y="2028858"/>
              <a:ext cx="1565955" cy="2240416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215" name="Grafik 6214">
              <a:extLst>
                <a:ext uri="{FF2B5EF4-FFF2-40B4-BE49-F238E27FC236}">
                  <a16:creationId xmlns:a16="http://schemas.microsoft.com/office/drawing/2014/main" id="{7E050E31-579F-D834-EFB5-D364B08CD2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Marke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230127" y="2741856"/>
              <a:ext cx="2312267" cy="3275305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6216" name="Rechteck 6215">
            <a:extLst>
              <a:ext uri="{FF2B5EF4-FFF2-40B4-BE49-F238E27FC236}">
                <a16:creationId xmlns:a16="http://schemas.microsoft.com/office/drawing/2014/main" id="{83C70FBD-4B44-3D46-27AF-50F1D576AF31}"/>
              </a:ext>
            </a:extLst>
          </p:cNvPr>
          <p:cNvSpPr/>
          <p:nvPr/>
        </p:nvSpPr>
        <p:spPr>
          <a:xfrm>
            <a:off x="1304088" y="3782516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17" name="Rechteck 6216">
            <a:extLst>
              <a:ext uri="{FF2B5EF4-FFF2-40B4-BE49-F238E27FC236}">
                <a16:creationId xmlns:a16="http://schemas.microsoft.com/office/drawing/2014/main" id="{B54B5BC0-93CF-297F-4F9E-EF437CFC9005}"/>
              </a:ext>
            </a:extLst>
          </p:cNvPr>
          <p:cNvSpPr/>
          <p:nvPr/>
        </p:nvSpPr>
        <p:spPr>
          <a:xfrm>
            <a:off x="1785506" y="2716580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18" name="Rechteck 6217">
            <a:extLst>
              <a:ext uri="{FF2B5EF4-FFF2-40B4-BE49-F238E27FC236}">
                <a16:creationId xmlns:a16="http://schemas.microsoft.com/office/drawing/2014/main" id="{434FCAD8-31AA-4899-429F-DD1FCDC01D60}"/>
              </a:ext>
            </a:extLst>
          </p:cNvPr>
          <p:cNvSpPr/>
          <p:nvPr/>
        </p:nvSpPr>
        <p:spPr>
          <a:xfrm>
            <a:off x="1785506" y="2932002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endParaRPr lang="en-US" sz="600" b="1"/>
          </a:p>
        </p:txBody>
      </p:sp>
      <p:sp>
        <p:nvSpPr>
          <p:cNvPr id="6219" name="Rechteck 6218">
            <a:extLst>
              <a:ext uri="{FF2B5EF4-FFF2-40B4-BE49-F238E27FC236}">
                <a16:creationId xmlns:a16="http://schemas.microsoft.com/office/drawing/2014/main" id="{296F3F11-6817-F6AC-4B31-F31DEA07A15A}"/>
              </a:ext>
            </a:extLst>
          </p:cNvPr>
          <p:cNvSpPr/>
          <p:nvPr/>
        </p:nvSpPr>
        <p:spPr>
          <a:xfrm>
            <a:off x="1235018" y="2978384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20" name="Rechteck 6219">
            <a:extLst>
              <a:ext uri="{FF2B5EF4-FFF2-40B4-BE49-F238E27FC236}">
                <a16:creationId xmlns:a16="http://schemas.microsoft.com/office/drawing/2014/main" id="{052269C2-E5E6-88D7-1BF1-051301A18C9E}"/>
              </a:ext>
            </a:extLst>
          </p:cNvPr>
          <p:cNvSpPr/>
          <p:nvPr/>
        </p:nvSpPr>
        <p:spPr>
          <a:xfrm>
            <a:off x="3192474" y="3049679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21" name="Rechteck 6220">
            <a:extLst>
              <a:ext uri="{FF2B5EF4-FFF2-40B4-BE49-F238E27FC236}">
                <a16:creationId xmlns:a16="http://schemas.microsoft.com/office/drawing/2014/main" id="{47B290BB-96D2-45A5-42CD-5DBAA7336EE4}"/>
              </a:ext>
            </a:extLst>
          </p:cNvPr>
          <p:cNvSpPr/>
          <p:nvPr/>
        </p:nvSpPr>
        <p:spPr>
          <a:xfrm>
            <a:off x="1313241" y="5048442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22" name="Rechteck 6221">
            <a:extLst>
              <a:ext uri="{FF2B5EF4-FFF2-40B4-BE49-F238E27FC236}">
                <a16:creationId xmlns:a16="http://schemas.microsoft.com/office/drawing/2014/main" id="{E344CD4E-9ADC-6CF1-83F4-FFFA38E68ED2}"/>
              </a:ext>
            </a:extLst>
          </p:cNvPr>
          <p:cNvSpPr/>
          <p:nvPr/>
        </p:nvSpPr>
        <p:spPr>
          <a:xfrm>
            <a:off x="2150217" y="5048442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endParaRPr lang="en-US" sz="600" b="1"/>
          </a:p>
        </p:txBody>
      </p:sp>
      <p:sp>
        <p:nvSpPr>
          <p:cNvPr id="6223" name="Rechteck 6222">
            <a:extLst>
              <a:ext uri="{FF2B5EF4-FFF2-40B4-BE49-F238E27FC236}">
                <a16:creationId xmlns:a16="http://schemas.microsoft.com/office/drawing/2014/main" id="{B340312E-6D52-1291-3B45-1294A20E3497}"/>
              </a:ext>
            </a:extLst>
          </p:cNvPr>
          <p:cNvSpPr/>
          <p:nvPr/>
        </p:nvSpPr>
        <p:spPr>
          <a:xfrm>
            <a:off x="1312442" y="4279829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24" name="Rechteck 6223">
            <a:extLst>
              <a:ext uri="{FF2B5EF4-FFF2-40B4-BE49-F238E27FC236}">
                <a16:creationId xmlns:a16="http://schemas.microsoft.com/office/drawing/2014/main" id="{AA1EEB1F-31E7-44DE-F57D-6B1D2962F901}"/>
              </a:ext>
            </a:extLst>
          </p:cNvPr>
          <p:cNvSpPr/>
          <p:nvPr/>
        </p:nvSpPr>
        <p:spPr>
          <a:xfrm>
            <a:off x="2736732" y="4352291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25" name="Rechteck 6224">
            <a:extLst>
              <a:ext uri="{FF2B5EF4-FFF2-40B4-BE49-F238E27FC236}">
                <a16:creationId xmlns:a16="http://schemas.microsoft.com/office/drawing/2014/main" id="{2AD45695-47E8-EE39-B288-BF1F59692E4E}"/>
              </a:ext>
            </a:extLst>
          </p:cNvPr>
          <p:cNvSpPr/>
          <p:nvPr/>
        </p:nvSpPr>
        <p:spPr>
          <a:xfrm>
            <a:off x="2948941" y="4908644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endParaRPr lang="en-US" sz="600" b="1"/>
          </a:p>
        </p:txBody>
      </p:sp>
      <p:sp>
        <p:nvSpPr>
          <p:cNvPr id="6226" name="Rechteck 6225">
            <a:extLst>
              <a:ext uri="{FF2B5EF4-FFF2-40B4-BE49-F238E27FC236}">
                <a16:creationId xmlns:a16="http://schemas.microsoft.com/office/drawing/2014/main" id="{04712793-B134-F136-CBD6-CA8F3D7DA575}"/>
              </a:ext>
            </a:extLst>
          </p:cNvPr>
          <p:cNvSpPr/>
          <p:nvPr/>
        </p:nvSpPr>
        <p:spPr>
          <a:xfrm>
            <a:off x="2079539" y="3196819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27" name="Rechteck 6226">
            <a:extLst>
              <a:ext uri="{FF2B5EF4-FFF2-40B4-BE49-F238E27FC236}">
                <a16:creationId xmlns:a16="http://schemas.microsoft.com/office/drawing/2014/main" id="{819FEB1E-C929-9B0F-239D-C1C0F0AD77A8}"/>
              </a:ext>
            </a:extLst>
          </p:cNvPr>
          <p:cNvSpPr/>
          <p:nvPr/>
        </p:nvSpPr>
        <p:spPr>
          <a:xfrm>
            <a:off x="2435735" y="2717708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28" name="Rechteck 6227">
            <a:extLst>
              <a:ext uri="{FF2B5EF4-FFF2-40B4-BE49-F238E27FC236}">
                <a16:creationId xmlns:a16="http://schemas.microsoft.com/office/drawing/2014/main" id="{BFA4C075-03D5-33B4-79A6-1EA4E769690D}"/>
              </a:ext>
            </a:extLst>
          </p:cNvPr>
          <p:cNvSpPr/>
          <p:nvPr/>
        </p:nvSpPr>
        <p:spPr>
          <a:xfrm>
            <a:off x="1050085" y="3622342"/>
            <a:ext cx="165263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29" name="Rechteck 6228">
            <a:extLst>
              <a:ext uri="{FF2B5EF4-FFF2-40B4-BE49-F238E27FC236}">
                <a16:creationId xmlns:a16="http://schemas.microsoft.com/office/drawing/2014/main" id="{6669A56F-6F87-7D45-D384-6C8667F89F3E}"/>
              </a:ext>
            </a:extLst>
          </p:cNvPr>
          <p:cNvSpPr/>
          <p:nvPr/>
        </p:nvSpPr>
        <p:spPr>
          <a:xfrm>
            <a:off x="1305335" y="4445999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30" name="Rechteck 6229">
            <a:extLst>
              <a:ext uri="{FF2B5EF4-FFF2-40B4-BE49-F238E27FC236}">
                <a16:creationId xmlns:a16="http://schemas.microsoft.com/office/drawing/2014/main" id="{2E657983-3D18-43E3-5C32-6BF6A2430F48}"/>
              </a:ext>
            </a:extLst>
          </p:cNvPr>
          <p:cNvSpPr/>
          <p:nvPr/>
        </p:nvSpPr>
        <p:spPr>
          <a:xfrm>
            <a:off x="3192474" y="3179208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31" name="Rechteck 6230">
            <a:extLst>
              <a:ext uri="{FF2B5EF4-FFF2-40B4-BE49-F238E27FC236}">
                <a16:creationId xmlns:a16="http://schemas.microsoft.com/office/drawing/2014/main" id="{9A5702B6-5A49-E2F6-741B-C666C5059737}"/>
              </a:ext>
            </a:extLst>
          </p:cNvPr>
          <p:cNvSpPr/>
          <p:nvPr/>
        </p:nvSpPr>
        <p:spPr>
          <a:xfrm>
            <a:off x="2526619" y="3197998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32" name="Rechteck 6231">
            <a:extLst>
              <a:ext uri="{FF2B5EF4-FFF2-40B4-BE49-F238E27FC236}">
                <a16:creationId xmlns:a16="http://schemas.microsoft.com/office/drawing/2014/main" id="{D6D6AEF9-594A-9376-AFD0-F7C1C0F89E89}"/>
              </a:ext>
            </a:extLst>
          </p:cNvPr>
          <p:cNvSpPr/>
          <p:nvPr/>
        </p:nvSpPr>
        <p:spPr>
          <a:xfrm>
            <a:off x="1960815" y="3739372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endParaRPr lang="en-US" sz="1400" b="1"/>
          </a:p>
        </p:txBody>
      </p:sp>
      <p:sp>
        <p:nvSpPr>
          <p:cNvPr id="6233" name="Rechteck 6232">
            <a:extLst>
              <a:ext uri="{FF2B5EF4-FFF2-40B4-BE49-F238E27FC236}">
                <a16:creationId xmlns:a16="http://schemas.microsoft.com/office/drawing/2014/main" id="{B73A1019-8DFB-16E5-15BE-9A3F1F23674B}"/>
              </a:ext>
            </a:extLst>
          </p:cNvPr>
          <p:cNvSpPr/>
          <p:nvPr/>
        </p:nvSpPr>
        <p:spPr>
          <a:xfrm>
            <a:off x="1962582" y="3971591"/>
            <a:ext cx="432000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34" name="Rechteck 6233">
            <a:extLst>
              <a:ext uri="{FF2B5EF4-FFF2-40B4-BE49-F238E27FC236}">
                <a16:creationId xmlns:a16="http://schemas.microsoft.com/office/drawing/2014/main" id="{D08582BD-78D7-E573-272D-3B43A8A1E925}"/>
              </a:ext>
            </a:extLst>
          </p:cNvPr>
          <p:cNvSpPr/>
          <p:nvPr/>
        </p:nvSpPr>
        <p:spPr>
          <a:xfrm>
            <a:off x="1056591" y="4165575"/>
            <a:ext cx="165263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35" name="Rechteck 6234">
            <a:extLst>
              <a:ext uri="{FF2B5EF4-FFF2-40B4-BE49-F238E27FC236}">
                <a16:creationId xmlns:a16="http://schemas.microsoft.com/office/drawing/2014/main" id="{4EA7CB5F-D528-855C-7857-E4F6E29CC160}"/>
              </a:ext>
            </a:extLst>
          </p:cNvPr>
          <p:cNvSpPr/>
          <p:nvPr/>
        </p:nvSpPr>
        <p:spPr>
          <a:xfrm>
            <a:off x="1051296" y="4488441"/>
            <a:ext cx="165263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36" name="Rechteck 6235">
            <a:extLst>
              <a:ext uri="{FF2B5EF4-FFF2-40B4-BE49-F238E27FC236}">
                <a16:creationId xmlns:a16="http://schemas.microsoft.com/office/drawing/2014/main" id="{9BB3D8BF-F652-F869-3FC5-CE3FAA3FF17A}"/>
              </a:ext>
            </a:extLst>
          </p:cNvPr>
          <p:cNvSpPr/>
          <p:nvPr/>
        </p:nvSpPr>
        <p:spPr>
          <a:xfrm>
            <a:off x="2650861" y="4655450"/>
            <a:ext cx="165263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37" name="Rechteck 6236">
            <a:extLst>
              <a:ext uri="{FF2B5EF4-FFF2-40B4-BE49-F238E27FC236}">
                <a16:creationId xmlns:a16="http://schemas.microsoft.com/office/drawing/2014/main" id="{6A6A18AE-CD7E-EA35-C00B-3A058666A32E}"/>
              </a:ext>
            </a:extLst>
          </p:cNvPr>
          <p:cNvSpPr/>
          <p:nvPr/>
        </p:nvSpPr>
        <p:spPr>
          <a:xfrm>
            <a:off x="2656560" y="3811363"/>
            <a:ext cx="165263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6238" name="Rechteck 6237">
            <a:extLst>
              <a:ext uri="{FF2B5EF4-FFF2-40B4-BE49-F238E27FC236}">
                <a16:creationId xmlns:a16="http://schemas.microsoft.com/office/drawing/2014/main" id="{85314443-8345-E7BD-4499-EDEF5E755F6D}"/>
              </a:ext>
            </a:extLst>
          </p:cNvPr>
          <p:cNvSpPr/>
          <p:nvPr/>
        </p:nvSpPr>
        <p:spPr>
          <a:xfrm>
            <a:off x="2654100" y="4038712"/>
            <a:ext cx="165263" cy="10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cxnSp>
        <p:nvCxnSpPr>
          <p:cNvPr id="6239" name="Verbinder: gewinkelt 6238">
            <a:extLst>
              <a:ext uri="{FF2B5EF4-FFF2-40B4-BE49-F238E27FC236}">
                <a16:creationId xmlns:a16="http://schemas.microsoft.com/office/drawing/2014/main" id="{5602F09D-6E22-52F6-6B21-61F45E423994}"/>
              </a:ext>
            </a:extLst>
          </p:cNvPr>
          <p:cNvCxnSpPr>
            <a:cxnSpLocks/>
            <a:stCxn id="6261" idx="2"/>
            <a:endCxn id="6225" idx="3"/>
          </p:cNvCxnSpPr>
          <p:nvPr/>
        </p:nvCxnSpPr>
        <p:spPr>
          <a:xfrm rot="10800000" flipV="1">
            <a:off x="3380941" y="2000398"/>
            <a:ext cx="2414250" cy="2962245"/>
          </a:xfrm>
          <a:prstGeom prst="bentConnector3">
            <a:avLst>
              <a:gd name="adj1" fmla="val 57891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0" name="Verbinder: gewinkelt 6239">
            <a:extLst>
              <a:ext uri="{FF2B5EF4-FFF2-40B4-BE49-F238E27FC236}">
                <a16:creationId xmlns:a16="http://schemas.microsoft.com/office/drawing/2014/main" id="{145F1869-3AAD-BB67-C72E-08257455EE92}"/>
              </a:ext>
            </a:extLst>
          </p:cNvPr>
          <p:cNvCxnSpPr>
            <a:cxnSpLocks/>
            <a:stCxn id="6261" idx="2"/>
            <a:endCxn id="6222" idx="3"/>
          </p:cNvCxnSpPr>
          <p:nvPr/>
        </p:nvCxnSpPr>
        <p:spPr>
          <a:xfrm rot="10800000" flipV="1">
            <a:off x="2582217" y="2000398"/>
            <a:ext cx="3212974" cy="3102043"/>
          </a:xfrm>
          <a:prstGeom prst="bentConnector3">
            <a:avLst>
              <a:gd name="adj1" fmla="val 41501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1" name="Verbinder: gewinkelt 6240">
            <a:extLst>
              <a:ext uri="{FF2B5EF4-FFF2-40B4-BE49-F238E27FC236}">
                <a16:creationId xmlns:a16="http://schemas.microsoft.com/office/drawing/2014/main" id="{5A6B7426-147C-61B1-F0E1-5935E2BD98B4}"/>
              </a:ext>
            </a:extLst>
          </p:cNvPr>
          <p:cNvCxnSpPr>
            <a:cxnSpLocks/>
            <a:stCxn id="6261" idx="2"/>
          </p:cNvCxnSpPr>
          <p:nvPr/>
        </p:nvCxnSpPr>
        <p:spPr>
          <a:xfrm rot="10800000" flipV="1">
            <a:off x="2217511" y="2000399"/>
            <a:ext cx="3577681" cy="990014"/>
          </a:xfrm>
          <a:prstGeom prst="bentConnector3">
            <a:avLst>
              <a:gd name="adj1" fmla="val 57366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2" name="Verbinder: gewinkelt 6241">
            <a:extLst>
              <a:ext uri="{FF2B5EF4-FFF2-40B4-BE49-F238E27FC236}">
                <a16:creationId xmlns:a16="http://schemas.microsoft.com/office/drawing/2014/main" id="{7D378F48-C4C3-6602-0617-F11C13C9B561}"/>
              </a:ext>
            </a:extLst>
          </p:cNvPr>
          <p:cNvCxnSpPr>
            <a:cxnSpLocks/>
            <a:stCxn id="6261" idx="2"/>
            <a:endCxn id="6217" idx="3"/>
          </p:cNvCxnSpPr>
          <p:nvPr/>
        </p:nvCxnSpPr>
        <p:spPr>
          <a:xfrm rot="10800000" flipV="1">
            <a:off x="2217507" y="2000398"/>
            <a:ext cx="3577685" cy="770181"/>
          </a:xfrm>
          <a:prstGeom prst="bentConnector3">
            <a:avLst>
              <a:gd name="adj1" fmla="val 58675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3" name="Verbinder: gewinkelt 6242">
            <a:extLst>
              <a:ext uri="{FF2B5EF4-FFF2-40B4-BE49-F238E27FC236}">
                <a16:creationId xmlns:a16="http://schemas.microsoft.com/office/drawing/2014/main" id="{0336E56D-6F60-8775-844F-C99B6FD51219}"/>
              </a:ext>
            </a:extLst>
          </p:cNvPr>
          <p:cNvCxnSpPr>
            <a:cxnSpLocks/>
            <a:stCxn id="6261" idx="2"/>
            <a:endCxn id="6227" idx="3"/>
          </p:cNvCxnSpPr>
          <p:nvPr/>
        </p:nvCxnSpPr>
        <p:spPr>
          <a:xfrm rot="10800000" flipV="1">
            <a:off x="2867735" y="2000398"/>
            <a:ext cx="2927456" cy="771309"/>
          </a:xfrm>
          <a:prstGeom prst="bentConnector3">
            <a:avLst>
              <a:gd name="adj1" fmla="val 71583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4" name="Verbinder: gewinkelt 6243">
            <a:extLst>
              <a:ext uri="{FF2B5EF4-FFF2-40B4-BE49-F238E27FC236}">
                <a16:creationId xmlns:a16="http://schemas.microsoft.com/office/drawing/2014/main" id="{083E9573-EA1E-C8E1-4BDB-7559EFF68F95}"/>
              </a:ext>
            </a:extLst>
          </p:cNvPr>
          <p:cNvCxnSpPr>
            <a:cxnSpLocks/>
            <a:stCxn id="6261" idx="2"/>
            <a:endCxn id="6219" idx="3"/>
          </p:cNvCxnSpPr>
          <p:nvPr/>
        </p:nvCxnSpPr>
        <p:spPr>
          <a:xfrm rot="10800000" flipV="1">
            <a:off x="1667019" y="2000398"/>
            <a:ext cx="4128173" cy="1031985"/>
          </a:xfrm>
          <a:prstGeom prst="bentConnector3">
            <a:avLst>
              <a:gd name="adj1" fmla="val 48827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5" name="Verbinder: gewinkelt 6244">
            <a:extLst>
              <a:ext uri="{FF2B5EF4-FFF2-40B4-BE49-F238E27FC236}">
                <a16:creationId xmlns:a16="http://schemas.microsoft.com/office/drawing/2014/main" id="{6950B887-DF22-D758-5429-2F78EBD85BA7}"/>
              </a:ext>
            </a:extLst>
          </p:cNvPr>
          <p:cNvCxnSpPr>
            <a:cxnSpLocks/>
            <a:stCxn id="6261" idx="2"/>
            <a:endCxn id="6231" idx="3"/>
          </p:cNvCxnSpPr>
          <p:nvPr/>
        </p:nvCxnSpPr>
        <p:spPr>
          <a:xfrm rot="10800000" flipV="1">
            <a:off x="2958619" y="2000398"/>
            <a:ext cx="2836572" cy="1251599"/>
          </a:xfrm>
          <a:prstGeom prst="bentConnector3">
            <a:avLst>
              <a:gd name="adj1" fmla="val 66510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6" name="Verbinder: gewinkelt 6245">
            <a:extLst>
              <a:ext uri="{FF2B5EF4-FFF2-40B4-BE49-F238E27FC236}">
                <a16:creationId xmlns:a16="http://schemas.microsoft.com/office/drawing/2014/main" id="{5E1E5EDD-40F2-8B56-03C4-CE3183413863}"/>
              </a:ext>
            </a:extLst>
          </p:cNvPr>
          <p:cNvCxnSpPr>
            <a:cxnSpLocks/>
            <a:stCxn id="6261" idx="2"/>
            <a:endCxn id="6220" idx="3"/>
          </p:cNvCxnSpPr>
          <p:nvPr/>
        </p:nvCxnSpPr>
        <p:spPr>
          <a:xfrm rot="10800000" flipV="1">
            <a:off x="3624475" y="2000399"/>
            <a:ext cx="2170717" cy="1103280"/>
          </a:xfrm>
          <a:prstGeom prst="bentConnector3">
            <a:avLst>
              <a:gd name="adj1" fmla="val 90662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7" name="Verbinder: gewinkelt 6246">
            <a:extLst>
              <a:ext uri="{FF2B5EF4-FFF2-40B4-BE49-F238E27FC236}">
                <a16:creationId xmlns:a16="http://schemas.microsoft.com/office/drawing/2014/main" id="{3B81E6BE-4F1A-CC57-569A-697CBF45A0A9}"/>
              </a:ext>
            </a:extLst>
          </p:cNvPr>
          <p:cNvCxnSpPr>
            <a:cxnSpLocks/>
            <a:stCxn id="6261" idx="2"/>
            <a:endCxn id="6232" idx="3"/>
          </p:cNvCxnSpPr>
          <p:nvPr/>
        </p:nvCxnSpPr>
        <p:spPr>
          <a:xfrm rot="10800000" flipV="1">
            <a:off x="2392815" y="2000398"/>
            <a:ext cx="3402376" cy="1792973"/>
          </a:xfrm>
          <a:prstGeom prst="bentConnector3">
            <a:avLst>
              <a:gd name="adj1" fmla="val 54106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8" name="Verbinder: gewinkelt 6247">
            <a:extLst>
              <a:ext uri="{FF2B5EF4-FFF2-40B4-BE49-F238E27FC236}">
                <a16:creationId xmlns:a16="http://schemas.microsoft.com/office/drawing/2014/main" id="{A44B7376-1441-C766-8FC5-5EFC32F2982F}"/>
              </a:ext>
            </a:extLst>
          </p:cNvPr>
          <p:cNvCxnSpPr>
            <a:cxnSpLocks/>
            <a:stCxn id="6261" idx="2"/>
            <a:endCxn id="6216" idx="3"/>
          </p:cNvCxnSpPr>
          <p:nvPr/>
        </p:nvCxnSpPr>
        <p:spPr>
          <a:xfrm rot="10800000" flipV="1">
            <a:off x="1736089" y="2000398"/>
            <a:ext cx="4059103" cy="1836117"/>
          </a:xfrm>
          <a:prstGeom prst="bentConnector3">
            <a:avLst>
              <a:gd name="adj1" fmla="val 44192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9" name="Verbinder: gewinkelt 6248">
            <a:extLst>
              <a:ext uri="{FF2B5EF4-FFF2-40B4-BE49-F238E27FC236}">
                <a16:creationId xmlns:a16="http://schemas.microsoft.com/office/drawing/2014/main" id="{4E14A16F-748F-3621-5677-2FC93178FA3C}"/>
              </a:ext>
            </a:extLst>
          </p:cNvPr>
          <p:cNvCxnSpPr>
            <a:cxnSpLocks/>
            <a:stCxn id="6261" idx="2"/>
            <a:endCxn id="6223" idx="3"/>
          </p:cNvCxnSpPr>
          <p:nvPr/>
        </p:nvCxnSpPr>
        <p:spPr>
          <a:xfrm rot="10800000" flipV="1">
            <a:off x="1744443" y="2000399"/>
            <a:ext cx="4050749" cy="2333430"/>
          </a:xfrm>
          <a:prstGeom prst="bentConnector3">
            <a:avLst>
              <a:gd name="adj1" fmla="val 40438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50" name="Verbinder: gewinkelt 6249">
            <a:extLst>
              <a:ext uri="{FF2B5EF4-FFF2-40B4-BE49-F238E27FC236}">
                <a16:creationId xmlns:a16="http://schemas.microsoft.com/office/drawing/2014/main" id="{B416177F-33B9-8BA7-D0FE-3F8FF6C2CA60}"/>
              </a:ext>
            </a:extLst>
          </p:cNvPr>
          <p:cNvCxnSpPr>
            <a:cxnSpLocks/>
            <a:stCxn id="6261" idx="2"/>
            <a:endCxn id="6229" idx="3"/>
          </p:cNvCxnSpPr>
          <p:nvPr/>
        </p:nvCxnSpPr>
        <p:spPr>
          <a:xfrm rot="10800000" flipV="1">
            <a:off x="1737335" y="2000399"/>
            <a:ext cx="4057856" cy="2499600"/>
          </a:xfrm>
          <a:prstGeom prst="bentConnector3">
            <a:avLst>
              <a:gd name="adj1" fmla="val 37794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51" name="Verbinder: gewinkelt 6250">
            <a:extLst>
              <a:ext uri="{FF2B5EF4-FFF2-40B4-BE49-F238E27FC236}">
                <a16:creationId xmlns:a16="http://schemas.microsoft.com/office/drawing/2014/main" id="{4AF9922F-3469-6970-CFA2-FE1995F389A5}"/>
              </a:ext>
            </a:extLst>
          </p:cNvPr>
          <p:cNvCxnSpPr>
            <a:cxnSpLocks/>
            <a:stCxn id="6261" idx="2"/>
            <a:endCxn id="6221" idx="3"/>
          </p:cNvCxnSpPr>
          <p:nvPr/>
        </p:nvCxnSpPr>
        <p:spPr>
          <a:xfrm rot="10800000" flipV="1">
            <a:off x="1745241" y="2000398"/>
            <a:ext cx="4049950" cy="3102043"/>
          </a:xfrm>
          <a:prstGeom prst="bentConnector3">
            <a:avLst>
              <a:gd name="adj1" fmla="val 31498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52" name="Verbinder: gewinkelt 6251">
            <a:extLst>
              <a:ext uri="{FF2B5EF4-FFF2-40B4-BE49-F238E27FC236}">
                <a16:creationId xmlns:a16="http://schemas.microsoft.com/office/drawing/2014/main" id="{D6895866-9354-01EC-E122-8AC9B390F124}"/>
              </a:ext>
            </a:extLst>
          </p:cNvPr>
          <p:cNvCxnSpPr>
            <a:cxnSpLocks/>
            <a:stCxn id="6261" idx="2"/>
            <a:endCxn id="6236" idx="3"/>
          </p:cNvCxnSpPr>
          <p:nvPr/>
        </p:nvCxnSpPr>
        <p:spPr>
          <a:xfrm rot="10800000" flipV="1">
            <a:off x="2816125" y="2000398"/>
            <a:ext cx="2979067" cy="2709051"/>
          </a:xfrm>
          <a:prstGeom prst="bentConnector3">
            <a:avLst>
              <a:gd name="adj1" fmla="val 49360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53" name="Verbinder: gewinkelt 6252">
            <a:extLst>
              <a:ext uri="{FF2B5EF4-FFF2-40B4-BE49-F238E27FC236}">
                <a16:creationId xmlns:a16="http://schemas.microsoft.com/office/drawing/2014/main" id="{C112C553-FE55-3642-DE24-31AF5821935B}"/>
              </a:ext>
            </a:extLst>
          </p:cNvPr>
          <p:cNvCxnSpPr>
            <a:cxnSpLocks/>
            <a:stCxn id="6261" idx="2"/>
            <a:endCxn id="6233" idx="3"/>
          </p:cNvCxnSpPr>
          <p:nvPr/>
        </p:nvCxnSpPr>
        <p:spPr>
          <a:xfrm rot="10800000" flipV="1">
            <a:off x="2394583" y="2000399"/>
            <a:ext cx="3400609" cy="2025192"/>
          </a:xfrm>
          <a:prstGeom prst="bentConnector3">
            <a:avLst>
              <a:gd name="adj1" fmla="val 50561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54" name="Verbinder: gewinkelt 6253">
            <a:extLst>
              <a:ext uri="{FF2B5EF4-FFF2-40B4-BE49-F238E27FC236}">
                <a16:creationId xmlns:a16="http://schemas.microsoft.com/office/drawing/2014/main" id="{3C1369F2-7CFC-95DC-39DA-B760242D119C}"/>
              </a:ext>
            </a:extLst>
          </p:cNvPr>
          <p:cNvCxnSpPr>
            <a:cxnSpLocks/>
            <a:stCxn id="6261" idx="2"/>
            <a:endCxn id="6238" idx="3"/>
          </p:cNvCxnSpPr>
          <p:nvPr/>
        </p:nvCxnSpPr>
        <p:spPr>
          <a:xfrm rot="10800000" flipV="1">
            <a:off x="2819363" y="2000398"/>
            <a:ext cx="2975828" cy="2092313"/>
          </a:xfrm>
          <a:prstGeom prst="bentConnector3">
            <a:avLst>
              <a:gd name="adj1" fmla="val 56615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55" name="Verbinder: gewinkelt 6254">
            <a:extLst>
              <a:ext uri="{FF2B5EF4-FFF2-40B4-BE49-F238E27FC236}">
                <a16:creationId xmlns:a16="http://schemas.microsoft.com/office/drawing/2014/main" id="{B077778C-C08B-A0E2-52E2-8255786586D5}"/>
              </a:ext>
            </a:extLst>
          </p:cNvPr>
          <p:cNvCxnSpPr>
            <a:cxnSpLocks/>
            <a:stCxn id="6261" idx="2"/>
            <a:endCxn id="6237" idx="3"/>
          </p:cNvCxnSpPr>
          <p:nvPr/>
        </p:nvCxnSpPr>
        <p:spPr>
          <a:xfrm rot="10800000" flipV="1">
            <a:off x="2821823" y="2000399"/>
            <a:ext cx="2973368" cy="1864964"/>
          </a:xfrm>
          <a:prstGeom prst="bentConnector3">
            <a:avLst>
              <a:gd name="adj1" fmla="val 58970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56" name="Verbinder: gewinkelt 6255">
            <a:extLst>
              <a:ext uri="{FF2B5EF4-FFF2-40B4-BE49-F238E27FC236}">
                <a16:creationId xmlns:a16="http://schemas.microsoft.com/office/drawing/2014/main" id="{23C66479-4C63-679F-FD4A-00A1C10BCFA4}"/>
              </a:ext>
            </a:extLst>
          </p:cNvPr>
          <p:cNvCxnSpPr>
            <a:cxnSpLocks/>
            <a:stCxn id="6261" idx="2"/>
            <a:endCxn id="6224" idx="3"/>
          </p:cNvCxnSpPr>
          <p:nvPr/>
        </p:nvCxnSpPr>
        <p:spPr>
          <a:xfrm rot="10800000" flipV="1">
            <a:off x="3168733" y="2000399"/>
            <a:ext cx="2626459" cy="2405892"/>
          </a:xfrm>
          <a:prstGeom prst="bentConnector3">
            <a:avLst>
              <a:gd name="adj1" fmla="val 60396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57" name="Verbinder: gewinkelt 6256">
            <a:extLst>
              <a:ext uri="{FF2B5EF4-FFF2-40B4-BE49-F238E27FC236}">
                <a16:creationId xmlns:a16="http://schemas.microsoft.com/office/drawing/2014/main" id="{1FA7F473-91A7-525D-4D2F-B9E75E39B272}"/>
              </a:ext>
            </a:extLst>
          </p:cNvPr>
          <p:cNvCxnSpPr>
            <a:cxnSpLocks/>
            <a:stCxn id="6261" idx="2"/>
            <a:endCxn id="6230" idx="3"/>
          </p:cNvCxnSpPr>
          <p:nvPr/>
        </p:nvCxnSpPr>
        <p:spPr>
          <a:xfrm rot="10800000" flipV="1">
            <a:off x="3624475" y="2000398"/>
            <a:ext cx="2170717" cy="1232809"/>
          </a:xfrm>
          <a:prstGeom prst="bentConnector3">
            <a:avLst>
              <a:gd name="adj1" fmla="val 88577"/>
            </a:avLst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58" name="Textfeld 6257">
            <a:extLst>
              <a:ext uri="{FF2B5EF4-FFF2-40B4-BE49-F238E27FC236}">
                <a16:creationId xmlns:a16="http://schemas.microsoft.com/office/drawing/2014/main" id="{967DF461-EA79-8BBB-077B-1A512A07A7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648393" y="2271954"/>
            <a:ext cx="2898389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>
                <a:solidFill>
                  <a:schemeClr val="accent6"/>
                </a:solidFill>
                <a:latin typeface="+mj-lt"/>
              </a:rPr>
              <a:t>AI-Data-Agent</a:t>
            </a:r>
          </a:p>
          <a:p>
            <a:pPr algn="ctr"/>
            <a:r>
              <a:rPr lang="en-US" sz="1600">
                <a:solidFill>
                  <a:schemeClr val="accent6"/>
                </a:solidFill>
                <a:latin typeface="+mj-lt"/>
              </a:rPr>
              <a:t>(e.g. Supplier Certifications)</a:t>
            </a:r>
          </a:p>
        </p:txBody>
      </p:sp>
      <p:sp>
        <p:nvSpPr>
          <p:cNvPr id="6259" name="Pfeil: Fünfeck 6258">
            <a:extLst>
              <a:ext uri="{FF2B5EF4-FFF2-40B4-BE49-F238E27FC236}">
                <a16:creationId xmlns:a16="http://schemas.microsoft.com/office/drawing/2014/main" id="{191C4D6F-6EBC-A4FA-5D0A-E99ED172F533}"/>
              </a:ext>
            </a:extLst>
          </p:cNvPr>
          <p:cNvSpPr/>
          <p:nvPr/>
        </p:nvSpPr>
        <p:spPr>
          <a:xfrm rot="5400000">
            <a:off x="5878674" y="1646230"/>
            <a:ext cx="477556" cy="2898389"/>
          </a:xfrm>
          <a:prstGeom prst="homePlate">
            <a:avLst>
              <a:gd name="adj" fmla="val 27429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449263"/>
            <a:r>
              <a:rPr lang="en-US" sz="1000" b="1">
                <a:solidFill>
                  <a:schemeClr val="bg1"/>
                </a:solidFill>
                <a:latin typeface="+mj-lt"/>
              </a:rPr>
              <a:t>1.) Crawling of documents w/ OCR</a:t>
            </a:r>
            <a:endParaRPr lang="en-US" sz="1000">
              <a:solidFill>
                <a:schemeClr val="bg1"/>
              </a:solidFill>
            </a:endParaRPr>
          </a:p>
        </p:txBody>
      </p:sp>
      <p:grpSp>
        <p:nvGrpSpPr>
          <p:cNvPr id="6260" name="Group 68">
            <a:extLst>
              <a:ext uri="{FF2B5EF4-FFF2-40B4-BE49-F238E27FC236}">
                <a16:creationId xmlns:a16="http://schemas.microsoft.com/office/drawing/2014/main" id="{FE3EFFE8-9A78-07AF-61E5-89481080E027}"/>
              </a:ext>
            </a:extLst>
          </p:cNvPr>
          <p:cNvGrpSpPr/>
          <p:nvPr/>
        </p:nvGrpSpPr>
        <p:grpSpPr>
          <a:xfrm>
            <a:off x="5795191" y="1754944"/>
            <a:ext cx="491769" cy="490909"/>
            <a:chOff x="5795191" y="1564444"/>
            <a:chExt cx="491769" cy="490909"/>
          </a:xfrm>
        </p:grpSpPr>
        <p:sp>
          <p:nvSpPr>
            <p:cNvPr id="6261" name="Ellipse 6260">
              <a:extLst>
                <a:ext uri="{FF2B5EF4-FFF2-40B4-BE49-F238E27FC236}">
                  <a16:creationId xmlns:a16="http://schemas.microsoft.com/office/drawing/2014/main" id="{F6E6535B-1096-DC33-5C33-D91281C43F5D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5795191" y="1564444"/>
              <a:ext cx="491769" cy="490909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accent1"/>
                </a:solidFill>
              </a:endParaRPr>
            </a:p>
          </p:txBody>
        </p:sp>
        <p:pic>
          <p:nvPicPr>
            <p:cNvPr id="6262" name="Picture 18">
              <a:extLst>
                <a:ext uri="{FF2B5EF4-FFF2-40B4-BE49-F238E27FC236}">
                  <a16:creationId xmlns:a16="http://schemas.microsoft.com/office/drawing/2014/main" id="{113C7E00-2872-2112-241F-2A93831CA6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rcRect r="71810"/>
            <a:stretch/>
          </p:blipFill>
          <p:spPr>
            <a:xfrm>
              <a:off x="5918017" y="1615513"/>
              <a:ext cx="262698" cy="399831"/>
            </a:xfrm>
            <a:prstGeom prst="rect">
              <a:avLst/>
            </a:prstGeom>
          </p:spPr>
        </p:pic>
      </p:grpSp>
      <p:sp>
        <p:nvSpPr>
          <p:cNvPr id="6263" name="Textfeld 6262">
            <a:extLst>
              <a:ext uri="{FF2B5EF4-FFF2-40B4-BE49-F238E27FC236}">
                <a16:creationId xmlns:a16="http://schemas.microsoft.com/office/drawing/2014/main" id="{2A10923E-21D0-0A24-BFD7-67EE421E354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41365" y="5337653"/>
            <a:ext cx="2634899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2000" b="1">
                <a:solidFill>
                  <a:schemeClr val="accent6"/>
                </a:solidFill>
                <a:latin typeface="+mj-lt"/>
              </a:rPr>
              <a:t>Unstructured data in invoices</a:t>
            </a:r>
          </a:p>
        </p:txBody>
      </p:sp>
      <p:sp>
        <p:nvSpPr>
          <p:cNvPr id="6264" name="Ellipse 6263">
            <a:extLst>
              <a:ext uri="{FF2B5EF4-FFF2-40B4-BE49-F238E27FC236}">
                <a16:creationId xmlns:a16="http://schemas.microsoft.com/office/drawing/2014/main" id="{262A7385-0E1F-104C-7288-A066137FE836}"/>
              </a:ext>
            </a:extLst>
          </p:cNvPr>
          <p:cNvSpPr/>
          <p:nvPr/>
        </p:nvSpPr>
        <p:spPr>
          <a:xfrm>
            <a:off x="79769" y="249330"/>
            <a:ext cx="486968" cy="466437"/>
          </a:xfrm>
          <a:prstGeom prst="ellipse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>
                <a:solidFill>
                  <a:schemeClr val="bg1"/>
                </a:solidFill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755131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6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6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6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6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6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6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6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6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6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6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6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6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6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6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6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6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6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6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6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16" grpId="0" animBg="1"/>
      <p:bldP spid="6217" grpId="0" animBg="1"/>
      <p:bldP spid="6218" grpId="0" animBg="1"/>
      <p:bldP spid="6219" grpId="0" animBg="1"/>
      <p:bldP spid="6220" grpId="0" animBg="1"/>
      <p:bldP spid="6221" grpId="0" animBg="1"/>
      <p:bldP spid="6222" grpId="0" animBg="1"/>
      <p:bldP spid="6223" grpId="0" animBg="1"/>
      <p:bldP spid="6224" grpId="0" animBg="1"/>
      <p:bldP spid="6225" grpId="0" animBg="1"/>
      <p:bldP spid="6226" grpId="0" animBg="1"/>
      <p:bldP spid="6227" grpId="0" animBg="1"/>
      <p:bldP spid="6228" grpId="0" animBg="1"/>
      <p:bldP spid="6229" grpId="0" animBg="1"/>
      <p:bldP spid="6230" grpId="0" animBg="1"/>
      <p:bldP spid="6231" grpId="0" animBg="1"/>
      <p:bldP spid="6232" grpId="0" animBg="1"/>
      <p:bldP spid="6233" grpId="0" animBg="1"/>
      <p:bldP spid="6234" grpId="0" animBg="1"/>
      <p:bldP spid="6235" grpId="0" animBg="1"/>
      <p:bldP spid="6236" grpId="0" animBg="1"/>
      <p:bldP spid="6237" grpId="0" animBg="1"/>
      <p:bldP spid="6238" grpId="0" animBg="1"/>
      <p:bldP spid="6259" grpId="0" animBg="1"/>
      <p:bldP spid="626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6rY8jEKk4VMrPKeA2Mk/YQEAAAAAAADAAAAAAADAAAAAwADAAEA////////BQAAAAMAEAALbHNskKq53Eqcmze8ZjGF/wQAAAABAAMAAAACAAMAAAAEAAQAAQD///////8FAAAABAAQAAsnwQq9cHxjTL+etZGW1Ww6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qtjyMQqThUys8p4DYyT9hANEYXRhAFMAAAAIUHJlc2VudGF0aW9uU2Nhbm5lZEZvckxpbmtlZFNoYXBlcwAAAk51bWJlckZvcm1hdFNlcGFyYXRvck1vZGUACgAAAEF1dG9tYXRpYwAAAk5hbWUAJAAAAExpbmtlZFNoYXBlUHJlc2VudGF0aW9uU2V0dGluZ3NEYXRhABBWZXJzaW9uAAAAAAAJTGFzdFdyaXRlAHCO/aKRAQAAAAEA/////4MAgwAAAAVfaWQAEAAAAARsc2yQqrncSpybN7xmMYX/A0RhdGEAGwAAAARMaW5rZWRTaGFwZURhdGEABQAAAAAAAk5hbWUAGQAAAExpbmtlZFNoYXBlc0RhdGFQcm9wZXJ0eQAQVmVyc2lvbgAAAAAACUxhc3RXcml0ZQBsjv2ikQEAAAACAP////+DAIMAAAAFX2lkABAAAAAEJ8EKvXB8Y0y/nrWRltVsOgNEYXRhABsAAAAETGlua2VkU2hhcGVEYXRhAAUAAAAAAAJOYW1lABkAAABMaW5rZWRTaGFwZXNEYXRhUHJvcGVydHkAEFZlcnNpb24AAQAAAAlMYXN0V3JpdGUAb479o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tCw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JQAGTGlua2VkU2hhcGVQcmVzZW50YXRpb25TZXR0aW5nc0RhdGFfMAQAAAAAAAUAAAAAAAUAAAADAAMAAQEDAAAAAwD///////8aAAZMaW5rZWRTaGFwZXNEYXRhUHJvcGVydHlfMAQAAAABAAUAAAACAAUAAAAEAAQAAQEDAAAABAD///////8aAAZMaW5rZWRTaGFwZXNEYXRhUHJvcGVydHlfMQQAAAACAAUAAAAD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606132490429397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qGJI748Awvt5XYp4SE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f981146a-e7e6-4981-b0f7-c3988ad1a876716420231204132631"/>
  <p:tag name="MIO_GUID" val="47e7d773-90f7-42e7-b0f8-f38136ad5c4f"/>
  <p:tag name="MIO_UPDATE" val="True"/>
  <p:tag name="MIO_VERSION" val="01.01.0001 00:00:00"/>
  <p:tag name="MIO_DBID" val="0F45B44C-9BC7-4D85-81C4-7155EE70A7B9"/>
  <p:tag name="MIO_LASTDOWNLOADED" val="04.12.2023 14:28:33.066"/>
  <p:tag name="MIO_OBJECTNAME" val="Expensive Price"/>
  <p:tag name="MIO_LASTEDITORNAME" val="https://search.icons8.com/api/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7Qfg6HpYFGiTlshGX+pNUEAAAAAAADAAAAAAADAAAAAwADAAEA////////BQAAAAMAEAALUpPALW6eJE26U/Zk1Y0EQQQAAAABAAMAAAACAAMAAAAEAAQAAQD///////8FAAAABAAQAAtOh/mHS15YSqyoAecrU4g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tB+DoelgUaJOWyEZf6k1QREYXRhAAUAAAAAAk5hbWUADQAAAExpbmtEYXRhTGlzdAAQVmVyc2lvbgABAAAACUxhc3RXcml0ZQCKgJO+jwEAAAABAP////9hAGEAAAAFX2lkABAAAAAEUpPALW6eJE26U/Zk1Y0EQQREYXRhAAUAAAAAAk5hbWUADQAAAExpbmtEYXRhTGlzdAAQVmVyc2lvbgAAAAAACUxhc3RXcml0ZQCJgJO+jwEAAAACAP////9wAHAAAAAFX2lkABAAAAAETof5h0teWEqsqAHnK1OILQNEYXRhABYAAAACUGVyc29uYWxJZAABAAAAAAACTmFtZQALAAAAUGVyc29uYWxJZAAQVmVyc2lvbgAAAAAACUxhc3RXcml0ZQChgJO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MBAwAAAAQA////////DAAGUGVyc29uYWxJZF8wBAAAAAIABQAAAAI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860888972235"/>
  <p:tag name="EMPOWERCHARTSPROPERTIES_B_LENGTH" val="24576"/>
  <p:tag name="DOWN_MIGRATION_INITIAL_LAYOUT_REQUIRED" val="9.2.99"/>
  <p:tag name="RUNTIME_ID" val="9060ec01-ac0a-4b6e-8994-ed507b64b4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7Qfg6HpYFGiTlshGX+pNUEAAAAAAADAAAAAAADAAAAAwADAAEA////////BQAAAAMAEAALUpPALW6eJE26U/Zk1Y0EQQQAAAABAAMAAAACAAMAAAAEAAQAAQD///////8FAAAABAAQAAtOh/mHS15YSqyoAecrU4g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tB+DoelgUaJOWyEZf6k1QREYXRhAAUAAAAAAk5hbWUADQAAAExpbmtEYXRhTGlzdAAQVmVyc2lvbgABAAAACUxhc3RXcml0ZQCKgJO+jwEAAAABAP////9hAGEAAAAFX2lkABAAAAAEUpPALW6eJE26U/Zk1Y0EQQREYXRhAAUAAAAAAk5hbWUADQAAAExpbmtEYXRhTGlzdAAQVmVyc2lvbgAAAAAACUxhc3RXcml0ZQCJgJO+jwEAAAACAP////9wAHAAAAAFX2lkABAAAAAETof5h0teWEqsqAHnK1OILQNEYXRhABYAAAACUGVyc29uYWxJZAABAAAAAAACTmFtZQALAAAAUGVyc29uYWxJZAAQVmVyc2lvbgAAAAAACUxhc3RXcml0ZQChgJO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MBAwAAAAQA////////DAAGUGVyc29uYWxJZF8wBAAAAAIABQAAAAI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860888972235"/>
  <p:tag name="EMPOWERCHARTSPROPERTIES_B_LENGTH" val="24576"/>
  <p:tag name="DOWN_MIGRATION_INITIAL_LAYOUT_REQUIRED" val="9.2.99"/>
  <p:tag name="RUNTIME_ID" val="9060ec01-ac0a-4b6e-8994-ed507b64b40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2gsAAAAAAAAAAAAAIAD///////////////8AAAD///////////////8DAAAABA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UAAAACABAAC2IBwafPKsdBphcMvBemKI0EAAAAAAADAAAABAADAAAAAwADAAAAAAD///////8DAAAAAAD///////8DAAAAAAD///////8DAAAAAAD///////8DAAAAAAD///////8DAAEA////////BQAAAAMAEAALKeq0z/ibyk+vvyTqRMyEAQQAAAABAAMAAAACAAMAAAABAAQAAQD///////8FAAAABAAQAAt0C/tuAS+NTYnVzHP2PpB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gHBp88qx0GmFwy8F6YojQREYXRhAAUAAAAAAk5hbWUADQAAAExpbmtEYXRhTGlzdAAQVmVyc2lvbgAAAAAACUxhc3RXcml0ZQBWgXfCjwEAAAABAP////9hAGEAAAAFX2lkABAAAAAEKeq0z/ibyk+vvyTqRMyEAQREYXRhAAUAAAAAAk5hbWUADQAAAExpbmtEYXRhTGlzdAAQVmVyc2lvbgABAAAACUxhc3RXcml0ZQBWgXfCjwEAAAACAP////9wAHAAAAAFX2lkABAAAAAEdAv7bgEvjU2J1cxz9j6QVANEYXRhABYAAAACUGVyc29uYWxJZAABAAAAAAACTmFtZQALAAAAUGVyc29uYWxJZAAQVmVyc2lvbgAAAAAACUxhc3RXcml0ZQB1gXfC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YBAwAAAAIA////////DgAGTGlua0RhdGFMaXN0XzAEAAAAAAAFAAAAAAAFAAAAAwAFAAAAAAAFAAAABAAFAAAAAAAFAAAABAAFAAAAAAAFAAAABAAFAAAAAAD///////8FAAAAAAD///////8DAAEBAwAAAAMA////////DgAGTGlua0RhdGFMaXN0XzEEAAAAAQAFAAAAAgAFAAAABAAEAAQBAwAAAAQA////////DAAGUGVyc29uYWxJZF8wBAAAAAIABQAAAAMABQAAAAEABQAAAAIA////////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513629807330"/>
  <p:tag name="EMPOWERCHARTSPROPERTIES_B_LENGTH" val="24576"/>
  <p:tag name="DOWN_MIGRATION_INITIAL_LAYOUT_REQUIRED" val="9.2.99"/>
  <p:tag name="RUNTIME_ID" val="68e5cf76-eda6-4d60-873a-9debe978b99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/////wUAngsAAAAAAAAAAAAAIAD///////////////8AAAD///////////////8DAAAABAD///////8DAAAABAD///////8DAAAAAgD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y37lEQcLaNJl3ATFxN1HNQEAAAAAAADAAAABAADAAAAAwADAAAABAADAAAAAwADAAAAAAADAAAAAwADAAAAAAADAAAAAwADAAcA////////BQAAAAMAEAALQxjIc4Xip0iKhZ7cYDA10QQAAAABAAMAAAACAAMAAAABAAMAAAACAP///////wMAAAACAP///////wMAAAACAP///////wMAAAAAAP///////wMAAAAAAP///////wMAAAAAAP///////wQAAgD///////8FAAAABAAQAAvt5Qw/BybrR5RrFecMlf3n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LfuURBwto0mXcBMXE3Uc1AREYXRhAAUAAAAAAk5hbWUADQAAAExpbmtEYXRhTGlzdAAQVmVyc2lvbgAAAAAACUxhc3RXcml0ZQCb46jOlQEAAAABAP////9hAGEAAAAFX2lkABAAAAAEQxjIc4Xip0iKhZ7cYDA10QREYXRhAAUAAAAAAk5hbWUADQAAAExpbmtEYXRhTGlzdAAQVmVyc2lvbgABAAAACUxhc3RXcml0ZQCg46jOlQEAAAACAP////9wAHAAAAAFX2lkABAAAAAE7eUMPwcm60eUaxXnDJX95wNEYXRhABYAAAACUGVyc29uYWxJZAABAAAAAAACTmFtZQALAAAAUGVyc29uYWxJZAAQVmVyc2lvbgAAAAAACUxhc3RXcml0ZQDQ46j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OCwAAAAAAAAAAAAAgAf///////////////wAAAP///////////////wUAAAACAP///////wUAAAACAP///////wUAAAACAP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AFAAAAAwAFAAAAAAAFAAAAAwAFAAAAAAAFAAAAAwADAAcBAwAAAAMA////////DgAGTGlua0RhdGFMaXN0XzEEAAAAAQAFAAAAAgAFAAAABAAFAAAAAgAFAAAABAAFAAAAAgAFAAAABAAFAAAAAgAFAAAABAAFAAAAAAD///////8FAAAAAAD///////8FAAAAAAD///////8EAAQBAwAAAAQA////////DAAGUGVyc29uYWxJZF8wBAAAAAIABQAAAAMABQAAAAEABQAAAAMA////////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57297809029"/>
  <p:tag name="EMPOWERCHARTSPROPERTIES_B_LENGTH" val="24576"/>
  <p:tag name="DOWN_MIGRATION_INITIAL_LAYOUT_REQUIRED" val="9.2.99"/>
  <p:tag name="RUNTIME_ID" val="0971869b-4cbe-4680-94ec-c10df09a8cbf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2gsAAAAAAAAAAAAAIAD///////////////8AAAD///////////////8DAAAABA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UAAAACABAAC2IBwafPKsdBphcMvBemKI0EAAAAAAADAAAABAADAAAAAwADAAAAAAD///////8DAAAAAAD///////8DAAAAAAD///////8DAAAAAAD///////8DAAAAAAD///////8DAAEA////////BQAAAAMAEAALKeq0z/ibyk+vvyTqRMyEAQQAAAABAAMAAAACAAMAAAABAAQAAQD///////8FAAAABAAQAAt0C/tuAS+NTYnVzHP2PpB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gHBp88qx0GmFwy8F6YojQREYXRhAAUAAAAAAk5hbWUADQAAAExpbmtEYXRhTGlzdAAQVmVyc2lvbgAAAAAACUxhc3RXcml0ZQBWgXfCjwEAAAABAP////9hAGEAAAAFX2lkABAAAAAEKeq0z/ibyk+vvyTqRMyEAQREYXRhAAUAAAAAAk5hbWUADQAAAExpbmtEYXRhTGlzdAAQVmVyc2lvbgABAAAACUxhc3RXcml0ZQBWgXfCjwEAAAACAP////9wAHAAAAAFX2lkABAAAAAEdAv7bgEvjU2J1cxz9j6QVANEYXRhABYAAAACUGVyc29uYWxJZAABAAAAAAACTmFtZQALAAAAUGVyc29uYWxJZAAQVmVyc2lvbgAAAAAACUxhc3RXcml0ZQB1gXfC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YBAwAAAAIA////////DgAGTGlua0RhdGFMaXN0XzAEAAAAAAAFAAAAAAAFAAAAAwAFAAAAAAAFAAAABAAFAAAAAAAFAAAABAAFAAAAAAAFAAAABAAFAAAAAAD///////8FAAAAAAD///////8DAAEBAwAAAAMA////////DgAGTGlua0RhdGFMaXN0XzEEAAAAAQAFAAAAAgAFAAAABAAEAAQBAwAAAAQA////////DAAGUGVyc29uYWxJZF8wBAAAAAIABQAAAAMABQAAAAEABQAAAAIA////////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513629807330"/>
  <p:tag name="EMPOWERCHARTSPROPERTIES_B_LENGTH" val="24576"/>
  <p:tag name="DOWN_MIGRATION_INITIAL_LAYOUT_REQUIRED" val="9.2.99"/>
  <p:tag name="RUNTIME_ID" val="68e5cf76-eda6-4d60-873a-9debe978b99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7Qfg6HpYFGiTlshGX+pNUEAAAAAAADAAAAAAADAAAAAwADAAEA////////BQAAAAMAEAALUpPALW6eJE26U/Zk1Y0EQQQAAAABAAMAAAACAAMAAAAEAAQAAQD///////8FAAAABAAQAAtOh/mHS15YSqyoAecrU4g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tB+DoelgUaJOWyEZf6k1QREYXRhAAUAAAAAAk5hbWUADQAAAExpbmtEYXRhTGlzdAAQVmVyc2lvbgABAAAACUxhc3RXcml0ZQCKgJO+jwEAAAABAP////9hAGEAAAAFX2lkABAAAAAEUpPALW6eJE26U/Zk1Y0EQQREYXRhAAUAAAAAAk5hbWUADQAAAExpbmtEYXRhTGlzdAAQVmVyc2lvbgAAAAAACUxhc3RXcml0ZQCJgJO+jwEAAAACAP////9wAHAAAAAFX2lkABAAAAAETof5h0teWEqsqAHnK1OILQNEYXRhABYAAAACUGVyc29uYWxJZAABAAAAAAACTmFtZQALAAAAUGVyc29uYWxJZAAQVmVyc2lvbgAAAAAACUxhc3RXcml0ZQChgJO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MBAwAAAAQA////////DAAGUGVyc29uYWxJZF8wBAAAAAIABQAAAAI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860888972235"/>
  <p:tag name="EMPOWERCHARTSPROPERTIES_B_LENGTH" val="24576"/>
  <p:tag name="DOWN_MIGRATION_INITIAL_LAYOUT_REQUIRED" val="9.2.99"/>
  <p:tag name="RUNTIME_ID" val="9060ec01-ac0a-4b6e-8994-ed507b64b40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7Qfg6HpYFGiTlshGX+pNUEAAAAAAADAAAAAAADAAAAAwADAAEA////////BQAAAAMAEAALUpPALW6eJE26U/Zk1Y0EQQQAAAABAAMAAAACAAMAAAAEAAQAAQD///////8FAAAABAAQAAtOh/mHS15YSqyoAecrU4g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tB+DoelgUaJOWyEZf6k1QREYXRhAAUAAAAAAk5hbWUADQAAAExpbmtEYXRhTGlzdAAQVmVyc2lvbgABAAAACUxhc3RXcml0ZQCKgJO+jwEAAAABAP////9hAGEAAAAFX2lkABAAAAAEUpPALW6eJE26U/Zk1Y0EQQREYXRhAAUAAAAAAk5hbWUADQAAAExpbmtEYXRhTGlzdAAQVmVyc2lvbgAAAAAACUxhc3RXcml0ZQCJgJO+jwEAAAACAP////9wAHAAAAAFX2lkABAAAAAETof5h0teWEqsqAHnK1OILQNEYXRhABYAAAACUGVyc29uYWxJZAABAAAAAAACTmFtZQALAAAAUGVyc29uYWxJZAAQVmVyc2lvbgAAAAAACUxhc3RXcml0ZQChgJO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MBAwAAAAQA////////DAAGUGVyc29uYWxJZF8wBAAAAAIABQAAAAI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860888972235"/>
  <p:tag name="EMPOWERCHARTSPROPERTIES_B_LENGTH" val="24576"/>
  <p:tag name="DOWN_MIGRATION_INITIAL_LAYOUT_REQUIRED" val="9.2.99"/>
  <p:tag name="RUNTIME_ID" val="9060ec01-ac0a-4b6e-8994-ed507b64b4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2gsAAAAAAAAAAAAAIAD///////////////8AAAD///////////////8DAAAABA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UAAAACABAAC2IBwafPKsdBphcMvBemKI0EAAAAAAADAAAABAADAAAAAwADAAAAAAD///////8DAAAAAAD///////8DAAAAAAD///////8DAAAAAAD///////8DAAAAAAD///////8DAAEA////////BQAAAAMAEAALKeq0z/ibyk+vvyTqRMyEAQQAAAABAAMAAAACAAMAAAABAAQAAQD///////8FAAAABAAQAAt0C/tuAS+NTYnVzHP2PpB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gHBp88qx0GmFwy8F6YojQREYXRhAAUAAAAAAk5hbWUADQAAAExpbmtEYXRhTGlzdAAQVmVyc2lvbgAAAAAACUxhc3RXcml0ZQBWgXfCjwEAAAABAP////9hAGEAAAAFX2lkABAAAAAEKeq0z/ibyk+vvyTqRMyEAQREYXRhAAUAAAAAAk5hbWUADQAAAExpbmtEYXRhTGlzdAAQVmVyc2lvbgABAAAACUxhc3RXcml0ZQBWgXfCjwEAAAACAP////9wAHAAAAAFX2lkABAAAAAEdAv7bgEvjU2J1cxz9j6QVANEYXRhABYAAAACUGVyc29uYWxJZAABAAAAAAACTmFtZQALAAAAUGVyc29uYWxJZAAQVmVyc2lvbgAAAAAACUxhc3RXcml0ZQB1gXfC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YBAwAAAAIA////////DgAGTGlua0RhdGFMaXN0XzAEAAAAAAAFAAAAAAAFAAAAAwAFAAAAAAAFAAAABAAFAAAAAAAFAAAABAAFAAAAAAAFAAAABAAFAAAAAAD///////8FAAAAAAD///////8DAAEBAwAAAAMA////////DgAGTGlua0RhdGFMaXN0XzEEAAAAAQAFAAAAAgAFAAAABAAEAAQBAwAAAAQA////////DAAGUGVyc29uYWxJZF8wBAAAAAIABQAAAAMABQAAAAEABQAAAAIA////////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513629807330"/>
  <p:tag name="EMPOWERCHARTSPROPERTIES_B_LENGTH" val="24576"/>
  <p:tag name="DOWN_MIGRATION_INITIAL_LAYOUT_REQUIRED" val="9.2.99"/>
  <p:tag name="RUNTIME_ID" val="68e5cf76-eda6-4d60-873a-9debe978b99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7Qfg6HpYFGiTlshGX+pNUEAAAAAAADAAAAAAADAAAAAwADAAEA////////BQAAAAMAEAALUpPALW6eJE26U/Zk1Y0EQQQAAAABAAMAAAACAAMAAAAEAAQAAQD///////8FAAAABAAQAAtOh/mHS15YSqyoAecrU4g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tB+DoelgUaJOWyEZf6k1QREYXRhAAUAAAAAAk5hbWUADQAAAExpbmtEYXRhTGlzdAAQVmVyc2lvbgABAAAACUxhc3RXcml0ZQCKgJO+jwEAAAABAP////9hAGEAAAAFX2lkABAAAAAEUpPALW6eJE26U/Zk1Y0EQQREYXRhAAUAAAAAAk5hbWUADQAAAExpbmtEYXRhTGlzdAAQVmVyc2lvbgAAAAAACUxhc3RXcml0ZQCJgJO+jwEAAAACAP////9wAHAAAAAFX2lkABAAAAAETof5h0teWEqsqAHnK1OILQNEYXRhABYAAAACUGVyc29uYWxJZAABAAAAAAACTmFtZQALAAAAUGVyc29uYWxJZAAQVmVyc2lvbgAAAAAACUxhc3RXcml0ZQChgJO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MBAwAAAAQA////////DAAGUGVyc29uYWxJZF8wBAAAAAIABQAAAAI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860888972235"/>
  <p:tag name="EMPOWERCHARTSPROPERTIES_B_LENGTH" val="24576"/>
  <p:tag name="DOWN_MIGRATION_INITIAL_LAYOUT_REQUIRED" val="9.2.99"/>
  <p:tag name="RUNTIME_ID" val="c77e0834-6fd4-4693-90f8-ca16a7b87e5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7Qfg6HpYFGiTlshGX+pNUEAAAAAAADAAAAAAADAAAAAwADAAEA////////BQAAAAMAEAALUpPALW6eJE26U/Zk1Y0EQQQAAAABAAMAAAACAAMAAAAEAAQAAQD///////8FAAAABAAQAAtOh/mHS15YSqyoAecrU4g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tB+DoelgUaJOWyEZf6k1QREYXRhAAUAAAAAAk5hbWUADQAAAExpbmtEYXRhTGlzdAAQVmVyc2lvbgABAAAACUxhc3RXcml0ZQCKgJO+jwEAAAABAP////9hAGEAAAAFX2lkABAAAAAEUpPALW6eJE26U/Zk1Y0EQQREYXRhAAUAAAAAAk5hbWUADQAAAExpbmtEYXRhTGlzdAAQVmVyc2lvbgAAAAAACUxhc3RXcml0ZQCJgJO+jwEAAAACAP////9wAHAAAAAFX2lkABAAAAAETof5h0teWEqsqAHnK1OILQNEYXRhABYAAAACUGVyc29uYWxJZAABAAAAAAACTmFtZQALAAAAUGVyc29uYWxJZAAQVmVyc2lvbgAAAAAACUxhc3RXcml0ZQChgJO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MBAwAAAAQA////////DAAGUGVyc29uYWxJZF8wBAAAAAIABQAAAAI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860888972235"/>
  <p:tag name="EMPOWERCHARTSPROPERTIES_B_LENGTH" val="24576"/>
  <p:tag name="DOWN_MIGRATION_INITIAL_LAYOUT_REQUIRED" val="9.2.99"/>
  <p:tag name="RUNTIME_ID" val="e7d0f953-5b30-4f2e-ba82-18a7129583f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/////wUAngsAAAAAAAAAAAAAIAD///////////////8AAAD///////////////8DAAAABAD///////8DAAAABAD///////8DAAAAAgD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y37lEQcLaNJl3ATFxN1HNQEAAAAAAADAAAABAADAAAAAwADAAAABAADAAAAAwADAAAAAAADAAAAAwADAAAAAAADAAAAAwADAAcA////////BQAAAAMAEAALQxjIc4Xip0iKhZ7cYDA10QQAAAABAAMAAAACAAMAAAABAAMAAAACAP///////wMAAAACAP///////wMAAAACAP///////wMAAAAAAP///////wMAAAAAAP///////wMAAAAAAP///////wQAAgD///////8FAAAABAAQAAvt5Qw/BybrR5RrFecMlf3n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LfuURBwto0mXcBMXE3Uc1AREYXRhAAUAAAAAAk5hbWUADQAAAExpbmtEYXRhTGlzdAAQVmVyc2lvbgAAAAAACUxhc3RXcml0ZQCb46jOlQEAAAABAP////9hAGEAAAAFX2lkABAAAAAEQxjIc4Xip0iKhZ7cYDA10QREYXRhAAUAAAAAAk5hbWUADQAAAExpbmtEYXRhTGlzdAAQVmVyc2lvbgABAAAACUxhc3RXcml0ZQCg46jOlQEAAAACAP////9wAHAAAAAFX2lkABAAAAAE7eUMPwcm60eUaxXnDJX95wNEYXRhABYAAAACUGVyc29uYWxJZAABAAAAAAACTmFtZQALAAAAUGVyc29uYWxJZAAQVmVyc2lvbgAAAAAACUxhc3RXcml0ZQDQ46j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OCwAAAAAAAAAAAAAgAf///////////////wAAAP///////////////wUAAAACAP///////wUAAAACAP///////wUAAAACAP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AFAAAAAwAFAAAAAAAFAAAAAwAFAAAAAAAFAAAAAwADAAcBAwAAAAMA////////DgAGTGlua0RhdGFMaXN0XzEEAAAAAQAFAAAAAgAFAAAABAAFAAAAAgAFAAAABAAFAAAAAgAFAAAABAAFAAAAAgAFAAAABAAFAAAAAAD///////8FAAAAAAD///////8FAAAAAAD///////8EAAQBAwAAAAQA////////DAAGUGVyc29uYWxJZF8wBAAAAAIABQAAAAMABQAAAAEABQAAAAMA////////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57297809029"/>
  <p:tag name="EMPOWERCHARTSPROPERTIES_B_LENGTH" val="24576"/>
  <p:tag name="DOWN_MIGRATION_INITIAL_LAYOUT_REQUIRED" val="9.2.99"/>
  <p:tag name="RUNTIME_ID" val="0971869b-4cbe-4680-94ec-c10df09a8cb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qGJI748Awvt5XYp4SE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7Qfg6HpYFGiTlshGX+pNUEAAAAAAADAAAAAAADAAAAAwADAAEA////////BQAAAAMAEAALUpPALW6eJE26U/Zk1Y0EQQQAAAABAAMAAAACAAMAAAAEAAQAAQD///////8FAAAABAAQAAtOh/mHS15YSqyoAecrU4g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tB+DoelgUaJOWyEZf6k1QREYXRhAAUAAAAAAk5hbWUADQAAAExpbmtEYXRhTGlzdAAQVmVyc2lvbgABAAAACUxhc3RXcml0ZQCKgJO+jwEAAAABAP////9hAGEAAAAFX2lkABAAAAAEUpPALW6eJE26U/Zk1Y0EQQREYXRhAAUAAAAAAk5hbWUADQAAAExpbmtEYXRhTGlzdAAQVmVyc2lvbgAAAAAACUxhc3RXcml0ZQCJgJO+jwEAAAACAP////9wAHAAAAAFX2lkABAAAAAETof5h0teWEqsqAHnK1OILQNEYXRhABYAAAACUGVyc29uYWxJZAABAAAAAAACTmFtZQALAAAAUGVyc29uYWxJZAAQVmVyc2lvbgAAAAAACUxhc3RXcml0ZQChgJO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MBAwAAAAQA////////DAAGUGVyc29uYWxJZF8wBAAAAAIABQAAAAI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860888972235"/>
  <p:tag name="EMPOWERCHARTSPROPERTIES_B_LENGTH" val="24576"/>
  <p:tag name="DOWN_MIGRATION_INITIAL_LAYOUT_REQUIRED" val="9.2.99"/>
  <p:tag name="RUNTIME_ID" val="624eb812-34fb-4616-b70a-52cd20ced35c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2gsAAAAAAAAAAAAAIAD///////////////8AAAD///////////////8DAAAABA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UAAAACABAAC2IBwafPKsdBphcMvBemKI0EAAAAAAADAAAABAADAAAAAwADAAAAAAD///////8DAAAAAAD///////8DAAAAAAD///////8DAAAAAAD///////8DAAAAAAD///////8DAAEA////////BQAAAAMAEAALKeq0z/ibyk+vvyTqRMyEAQQAAAABAAMAAAACAAMAAAABAAQAAQD///////8FAAAABAAQAAt0C/tuAS+NTYnVzHP2PpB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gHBp88qx0GmFwy8F6YojQREYXRhAAUAAAAAAk5hbWUADQAAAExpbmtEYXRhTGlzdAAQVmVyc2lvbgAAAAAACUxhc3RXcml0ZQBWgXfCjwEAAAABAP////9hAGEAAAAFX2lkABAAAAAEKeq0z/ibyk+vvyTqRMyEAQREYXRhAAUAAAAAAk5hbWUADQAAAExpbmtEYXRhTGlzdAAQVmVyc2lvbgABAAAACUxhc3RXcml0ZQBWgXfCjwEAAAACAP////9wAHAAAAAFX2lkABAAAAAEdAv7bgEvjU2J1cxz9j6QVANEYXRhABYAAAACUGVyc29uYWxJZAABAAAAAAACTmFtZQALAAAAUGVyc29uYWxJZAAQVmVyc2lvbgAAAAAACUxhc3RXcml0ZQB1gXfC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YBAwAAAAIA////////DgAGTGlua0RhdGFMaXN0XzAEAAAAAAAFAAAAAAAFAAAAAwAFAAAAAAAFAAAABAAFAAAAAAAFAAAABAAFAAAAAAAFAAAABAAFAAAAAAD///////8FAAAAAAD///////8DAAEBAwAAAAMA////////DgAGTGlua0RhdGFMaXN0XzEEAAAAAQAFAAAAAgAFAAAABAAEAAQBAwAAAAQA////////DAAGUGVyc29uYWxJZF8wBAAAAAIABQAAAAMABQAAAAEABQAAAAIA////////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513629807330"/>
  <p:tag name="EMPOWERCHARTSPROPERTIES_B_LENGTH" val="24576"/>
  <p:tag name="DOWN_MIGRATION_INITIAL_LAYOUT_REQUIRED" val="9.2.99"/>
  <p:tag name="RUNTIME_ID" val="ce8bad4e-d6bf-4698-b8e0-00dd09c1f99f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7Qfg6HpYFGiTlshGX+pNUEAAAAAAADAAAAAAADAAAAAwADAAEA////////BQAAAAMAEAALUpPALW6eJE26U/Zk1Y0EQQQAAAABAAMAAAACAAMAAAAEAAQAAQD///////8FAAAABAAQAAtOh/mHS15YSqyoAecrU4g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tB+DoelgUaJOWyEZf6k1QREYXRhAAUAAAAAAk5hbWUADQAAAExpbmtEYXRhTGlzdAAQVmVyc2lvbgABAAAACUxhc3RXcml0ZQCKgJO+jwEAAAABAP////9hAGEAAAAFX2lkABAAAAAEUpPALW6eJE26U/Zk1Y0EQQREYXRhAAUAAAAAAk5hbWUADQAAAExpbmtEYXRhTGlzdAAQVmVyc2lvbgAAAAAACUxhc3RXcml0ZQCJgJO+jwEAAAACAP////9wAHAAAAAFX2lkABAAAAAETof5h0teWEqsqAHnK1OILQNEYXRhABYAAAACUGVyc29uYWxJZAABAAAAAAACTmFtZQALAAAAUGVyc29uYWxJZAAQVmVyc2lvbgAAAAAACUxhc3RXcml0ZQChgJO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MBAwAAAAQA////////DAAGUGVyc29uYWxJZF8wBAAAAAIABQAAAAI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860888972235"/>
  <p:tag name="EMPOWERCHARTSPROPERTIES_B_LENGTH" val="24576"/>
  <p:tag name="DOWN_MIGRATION_INITIAL_LAYOUT_REQUIRED" val="9.2.99"/>
  <p:tag name="RUNTIME_ID" val="6cb38fe9-b8ad-4ee5-a9dc-dde3bee5215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2gsAAAAAAAAAAAAAIAD///////////////8AAAD///////////////8DAAAABA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UAAAACABAAC2IBwafPKsdBphcMvBemKI0EAAAAAAADAAAABAADAAAAAwADAAAAAAD///////8DAAAAAAD///////8DAAAAAAD///////8DAAAAAAD///////8DAAAAAAD///////8DAAEA////////BQAAAAMAEAALKeq0z/ibyk+vvyTqRMyEAQQAAAABAAMAAAACAAMAAAABAAQAAQD///////8FAAAABAAQAAt0C/tuAS+NTYnVzHP2PpB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gHBp88qx0GmFwy8F6YojQREYXRhAAUAAAAAAk5hbWUADQAAAExpbmtEYXRhTGlzdAAQVmVyc2lvbgAAAAAACUxhc3RXcml0ZQBWgXfCjwEAAAABAP////9hAGEAAAAFX2lkABAAAAAEKeq0z/ibyk+vvyTqRMyEAQREYXRhAAUAAAAAAk5hbWUADQAAAExpbmtEYXRhTGlzdAAQVmVyc2lvbgABAAAACUxhc3RXcml0ZQBWgXfCjwEAAAACAP////9wAHAAAAAFX2lkABAAAAAEdAv7bgEvjU2J1cxz9j6QVANEYXRhABYAAAACUGVyc29uYWxJZAABAAAAAAACTmFtZQALAAAAUGVyc29uYWxJZAAQVmVyc2lvbgAAAAAACUxhc3RXcml0ZQB1gXfC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YBAwAAAAIA////////DgAGTGlua0RhdGFMaXN0XzAEAAAAAAAFAAAAAAAFAAAAAwAFAAAAAAAFAAAABAAFAAAAAAAFAAAABAAFAAAAAAAFAAAABAAFAAAAAAD///////8FAAAAAAD///////8DAAEBAwAAAAMA////////DgAGTGlua0RhdGFMaXN0XzEEAAAAAQAFAAAAAgAFAAAABAAEAAQBAwAAAAQA////////DAAGUGVyc29uYWxJZF8wBAAAAAIABQAAAAMABQAAAAEABQAAAAIA////////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513629807330"/>
  <p:tag name="EMPOWERCHARTSPROPERTIES_B_LENGTH" val="24576"/>
  <p:tag name="DOWN_MIGRATION_INITIAL_LAYOUT_REQUIRED" val="9.2.99"/>
  <p:tag name="RUNTIME_ID" val="d51c6472-c6a0-4c13-a4e3-ebab9c298d3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7Qfg6HpYFGiTlshGX+pNUEAAAAAAADAAAAAAADAAAAAwADAAEA////////BQAAAAMAEAALUpPALW6eJE26U/Zk1Y0EQQQAAAABAAMAAAACAAMAAAAEAAQAAQD///////8FAAAABAAQAAtOh/mHS15YSqyoAecrU4g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tB+DoelgUaJOWyEZf6k1QREYXRhAAUAAAAAAk5hbWUADQAAAExpbmtEYXRhTGlzdAAQVmVyc2lvbgABAAAACUxhc3RXcml0ZQCKgJO+jwEAAAABAP////9hAGEAAAAFX2lkABAAAAAEUpPALW6eJE26U/Zk1Y0EQQREYXRhAAUAAAAAAk5hbWUADQAAAExpbmtEYXRhTGlzdAAQVmVyc2lvbgAAAAAACUxhc3RXcml0ZQCJgJO+jwEAAAACAP////9wAHAAAAAFX2lkABAAAAAETof5h0teWEqsqAHnK1OILQNEYXRhABYAAAACUGVyc29uYWxJZAABAAAAAAACTmFtZQALAAAAUGVyc29uYWxJZAAQVmVyc2lvbgAAAAAACUxhc3RXcml0ZQChgJO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MBAwAAAAQA////////DAAGUGVyc29uYWxJZF8wBAAAAAIABQAAAAI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860888972235"/>
  <p:tag name="EMPOWERCHARTSPROPERTIES_B_LENGTH" val="24576"/>
  <p:tag name="DOWN_MIGRATION_INITIAL_LAYOUT_REQUIRED" val="9.2.99"/>
  <p:tag name="RUNTIME_ID" val="f9049ea0-8526-49b7-aef4-5d78bdc1647f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5gsAAAAAAAAAAAAAIAD///////////////8AAAD///////////////8DAAAABAD///////8DAAAABA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3Sk4zCdrHxKjBx+pigauucEAAAAAAADAAAABAADAAAAAwADAAAABAD///////8DAAAAAAD///////8DAAAAAAD///////8DAAEA////////BQAAAAMAEAALbgNidcH36Eq0/C6DOrAIbQQAAAABAAMAAAACAAMAAAABAAQAAgD///////8FAAAABAAQAAvurIQL3NrDT50U4QN0E4/y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dKTjMJ2sfEqMHH6mKBq65wREYXRhAAUAAAAAAk5hbWUADQAAAExpbmtEYXRhTGlzdAAQVmVyc2lvbgAAAAAACUxhc3RXcml0ZQBdw6rOlQEAAAABAP////9hAGEAAAAFX2lkABAAAAAEbgNidcH36Eq0/C6DOrAIbQREYXRhAAUAAAAAAk5hbWUADQAAAExpbmtEYXRhTGlzdAAQVmVyc2lvbgABAAAACUxhc3RXcml0ZQBew6rOlQEAAAACAP////9wAHAAAAAFX2lkABAAAAAE7qyEC9zaw0+dFOEDdBOP8gNEYXRhABYAAAACUGVyc29uYWxJZAABAAAAAAACTmFtZQALAAAAUGVyc29uYWxJZAAQVmVyc2lvbgAAAAAACUxhc3RXcml0ZQCEw6r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D///////8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58525882126"/>
  <p:tag name="EMPOWERCHARTSPROPERTIES_B_LENGTH" val="24576"/>
  <p:tag name="DOWN_MIGRATION_INITIAL_LAYOUT_REQUIRED" val="9.2.99"/>
  <p:tag name="RUNTIME_ID" val="b729123e-92e2-40c5-aa80-f01bdada348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rfxhrg4jlGvFTHwvKWBbsEAAAAAAADAAAAAAADAAAABAADAAEA////////BQAAAAMAEAALf6e26QSCV0qPmiBsPrDP6AQAAAABAAMAAAAEAAMAAAABAAQAAQD///////8FAAAABAAQAAvzJ1Nlj4guRb1aUuqRB3uT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t/GGuDiOUa8VMfC8pYFuwREYXRhAAUAAAAAAk5hbWUADQAAAExpbmtEYXRhTGlzdAAQVmVyc2lvbgAAAAAACUxhc3RXcml0ZQDCw6rOlQEAAAABAP////9hAGEAAAAFX2lkABAAAAAEf6e26QSCV0qPmiBsPrDP6AREYXRhAAUAAAAAAk5hbWUADQAAAExpbmtEYXRhTGlzdAAQVmVyc2lvbgABAAAACUxhc3RXcml0ZQDDw6rOlQEAAAACAP////9wAHAAAAAFX2lkABAAAAAE8ydTZY+ILkW9WlLqkQd7kwNEYXRhABYAAAACUGVyc29uYWxJZAABAAAAAAACTmFtZQALAAAAUGVyc29uYWxJZAAQVmVyc2lvbgAAAAAACUxhc3RXcml0ZQDpw6r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AEAAAAAAAFAAAAAAAFAAAAAwAFAAAAAAAFAAAAAwAFAAAAAAD///////8FAAAAAAD///////8FAAAAAAD///////8DAAIBAwAAAAMA////////DgAGTGlua0RhdGFMaXN0XzEEAAAAAQAFAAAAAgAFAAAABAAFAAAAAg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58526812927"/>
  <p:tag name="EMPOWERCHARTSPROPERTIES_B_LENGTH" val="24576"/>
  <p:tag name="DOWN_MIGRATION_INITIAL_LAYOUT_REQUIRED" val="9.2.99"/>
  <p:tag name="RUNTIME_ID" val="f62f9140-69e5-473f-8851-2cab9ca35208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/////wUA/gsAAAAAAAAAAAAAIAD///////////////8AAAD////////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7JkBljT8tDslK3XZGkbCoEAAAAAAADAAAAAAADAAAAAwADAAEA////////BQAAAAMAEAAL/UOQfQAzFk2xTe2S0qv+YQQAAAABAAMAAAACAAMAAAAEAAQAAwD///////8FAAAABAAQAAseyimiqKgjSYic3qlCbWocBAAAAAIAAwAAAAMAAwAAAAE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PsmQGWNPy0OyUrddkaRsKgREYXRhAAUAAAAAAk5hbWUADQAAAExpbmtEYXRhTGlzdAAQVmVyc2lvbgAAAAAACUxhc3RXcml0ZQAjxKrOlQEAAAABAP////9hAGEAAAAFX2lkABAAAAAE/UOQfQAzFk2xTe2S0qv+YQREYXRhAAUAAAAAAk5hbWUADQAAAExpbmtEYXRhTGlzdAAQVmVyc2lvbgABAAAACUxhc3RXcml0ZQAnxKrOlQEAAAACAP////9wAHAAAAAFX2lkABAAAAAEHsopoqioI0mInN6pQm1qHANEYXRhABYAAAACUGVyc29uYWxJZAABAAAAAAACTmFtZQALAAAAUGVyc29uYWxJZAAQVmVyc2lvbgAAAAAACUxhc3RXcml0ZQBLxKr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58527848137"/>
  <p:tag name="EMPOWERCHARTSPROPERTIES_B_LENGTH" val="24576"/>
  <p:tag name="DOWN_MIGRATION_INITIAL_LAYOUT_REQUIRED" val="9.2.99"/>
  <p:tag name="RUNTIME_ID" val="08361c70-2465-45be-aac6-ded3398b5b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/////wUAzgsAAAAAAAAAAAAAIAD///////////////8AAAD///////////////8DAAAAAgD///////8DAAAAAg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3Q2BDqOvdpNqBDVIa7IsugEAAAAAAADAAAAAAADAAAABAADAAAAAAADAAAABAADAAEA////////BQAAAAMAEAALYYxSnD9rq0OBRV6OLKnfQQQAAAABAAMAAAAEAAMAAAABAAQABgD///////8FAAAABAAQAAtwTmmaxr1LRJ5Dw6TWl6uoBAAAAAIAAwAAAAIAAwAAAAMAAwAAAAIA////////AwAAAAA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dDYEOo692k2oENUhrsiy6AREYXRhAAUAAAAAAk5hbWUADQAAAExpbmtEYXRhTGlzdAAQVmVyc2lvbgABAAAACUxhc3RXcml0ZQCJxKrOlQEAAAABAP////9hAGEAAAAFX2lkABAAAAAEYYxSnD9rq0OBRV6OLKnfQQREYXRhAAUAAAAAAk5hbWUADQAAAExpbmtEYXRhTGlzdAAQVmVyc2lvbgAAAAAACUxhc3RXcml0ZQCJxKrOlQEAAAACAP////9wAHAAAAAFX2lkABAAAAAEcE5pmsa9S0SeQ8Ok1perqANEYXRhABYAAAACUGVyc29uYWxJZAABAAAAAAACTmFtZQALAAAAUGVyc29uYWxJZAAQVmVyc2lvbgAAAAAACUxhc3RXcml0ZQCxxKr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MBAwAAAAQA////////DAAGUGVyc29uYWxJZF8wBAAAAAIABQAAAAIABQAAAAEA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58528908985"/>
  <p:tag name="EMPOWERCHARTSPROPERTIES_B_LENGTH" val="24576"/>
  <p:tag name="DOWN_MIGRATION_INITIAL_LAYOUT_REQUIRED" val="9.2.99"/>
  <p:tag name="RUNTIME_ID" val="3c311f12-8b15-4277-a2ae-7d02d3a2a6d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2gsAAAAAAAAAAAAAIAD///////////////8AAAD///////////////8DAAAABA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UAAAACABAAC2IBwafPKsdBphcMvBemKI0EAAAAAAADAAAABAADAAAAAwADAAAAAAD///////8DAAAAAAD///////8DAAAAAAD///////8DAAAAAAD///////8DAAAAAAD///////8DAAEA////////BQAAAAMAEAALKeq0z/ibyk+vvyTqRMyEAQQAAAABAAMAAAACAAMAAAABAAQAAQD///////8FAAAABAAQAAt0C/tuAS+NTYnVzHP2PpB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gHBp88qx0GmFwy8F6YojQREYXRhAAUAAAAAAk5hbWUADQAAAExpbmtEYXRhTGlzdAAQVmVyc2lvbgAAAAAACUxhc3RXcml0ZQBWgXfCjwEAAAABAP////9hAGEAAAAFX2lkABAAAAAEKeq0z/ibyk+vvyTqRMyEAQREYXRhAAUAAAAAAk5hbWUADQAAAExpbmtEYXRhTGlzdAAQVmVyc2lvbgABAAAACUxhc3RXcml0ZQBWgXfCjwEAAAACAP////9wAHAAAAAFX2lkABAAAAAEdAv7bgEvjU2J1cxz9j6QVANEYXRhABYAAAACUGVyc29uYWxJZAABAAAAAAACTmFtZQALAAAAUGVyc29uYWxJZAAQVmVyc2lvbgAAAAAACUxhc3RXcml0ZQB1gXfC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YBAwAAAAIA////////DgAGTGlua0RhdGFMaXN0XzAEAAAAAAAFAAAAAAAFAAAAAwAFAAAAAAAFAAAABAAFAAAAAAAFAAAABAAFAAAAAAAFAAAABAAFAAAAAAD///////8FAAAAAAD///////8DAAEBAwAAAAMA////////DgAGTGlua0RhdGFMaXN0XzEEAAAAAQAFAAAAAgAFAAAABAAEAAQBAwAAAAQA////////DAAGUGVyc29uYWxJZF8wBAAAAAIABQAAAAMABQAAAAEABQAAAAIA////////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513629807330"/>
  <p:tag name="EMPOWERCHARTSPROPERTIES_B_LENGTH" val="24576"/>
  <p:tag name="DOWN_MIGRATION_INITIAL_LAYOUT_REQUIRED" val="9.2.99"/>
  <p:tag name="RUNTIME_ID" val="4998619d-062e-4c41-b489-a97386b0d4b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5gsAAAAAAAAAAAAAIAD///////////////8AAAD////////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xNLWBLYQBpIreSmyUhwKccEAAAAAAADAAAAAAADAAAABAADAAAAAAADAAAABAADAAEA////////BQAAAAMAEAALC8z4uGxDRE+x/YYEaAlKzAQAAAABAAMAAAAEAAMAAAABAAQABAD///////8FAAAABAAQAAuoUUdgYZSeRpQSr+Z/hKUbBAAAAAIAAwAAAAIAAwAAAAMAAwAAAAI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0tYEthAGkit5KbJSHApxwREYXRhAAUAAAAAAk5hbWUADQAAAExpbmtEYXRhTGlzdAAQVmVyc2lvbgAAAAAACUxhc3RXcml0ZQBW2wHSlQEAAAABAP////9hAGEAAAAFX2lkABAAAAAEC8z4uGxDRE+x/YYEaAlKzAREYXRhAAUAAAAAAk5hbWUADQAAAExpbmtEYXRhTGlzdAAQVmVyc2lvbgABAAAACUxhc3RXcml0ZQBv2wHSlQEAAAACAP////9wAHAAAAAFX2lkABAAAAAEqFFHYGGUnkaUEq/mf4SlGwNEYXRhABYAAAACUGVyc29uYWxJZAABAAAAAAACTmFtZQALAAAAUGVyc29uYWxJZAAQVmVyc2lvbgAAAAAACUxhc3RXcml0ZQDE2wHS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818920559637"/>
  <p:tag name="EMPOWERCHARTSPROPERTIES_B_LENGTH" val="24576"/>
  <p:tag name="DOWN_MIGRATION_INITIAL_LAYOUT_REQUIRED" val="9.2.99"/>
  <p:tag name="RUNTIME_ID" val="7dc19807-33f1-4ab8-ad93-de86af4eeac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/////wUA8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+Bc3Fcvc1In/jxy5NsW/sEAAAAAAADAAAABAADAAAAAwADAAEA////////BQAAAAMAEAALZEeou2kaU0yiS/CMvvNqMAQAAAABAAMAAAACAAMAAAABAAQABAD///////8FAAAABAAQAAsfsxAn+MvoTZtfU6OGMz0PBAAAAAIAAwAAAAAAAwAAAAIA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4FzcVy9zUif+PHLk2xb+wREYXRhAAUAAAAAAk5hbWUADQAAAExpbmtEYXRhTGlzdAAQVmVyc2lvbgAAAAAACUxhc3RXcml0ZQDXCZ3OlQEAAAABAP////9hAGEAAAAFX2lkABAAAAAEZEeou2kaU0yiS/CMvvNqMAREYXRhAAUAAAAAAk5hbWUADQAAAExpbmtEYXRhTGlzdAAQVmVyc2lvbgABAAAACUxhc3RXcml0ZQDaCZ3OlQEAAAACAP////9wAHAAAAAFX2lkABAAAAAEH7MQJ/jL6E2bX1OjhjM9DwNEYXRhABYAAAACUGVyc29uYWxJZAABAAAAAAACTmFtZQALAAAAUGVyc29uYWxJZAAQVmVyc2lvbgAAAAAACUxhc3RXcml0ZQABCp3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49531317766"/>
  <p:tag name="EMPOWERCHARTSPROPERTIES_B_LENGTH" val="24576"/>
  <p:tag name="DOWN_MIGRATION_INITIAL_LAYOUT_REQUIRED" val="9.2.99"/>
  <p:tag name="RUNTIME_ID" val="807973ce-a7e2-4401-81f1-c860feb70bc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/////wUA8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+Bc3Fcvc1In/jxy5NsW/sEAAAAAAADAAAABAADAAAAAwADAAEA////////BQAAAAMAEAALZEeou2kaU0yiS/CMvvNqMAQAAAABAAMAAAACAAMAAAABAAQABAD///////8FAAAABAAQAAsfsxAn+MvoTZtfU6OGMz0PBAAAAAIAAwAAAAAAAwAAAAIA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4FzcVy9zUif+PHLk2xb+wREYXRhAAUAAAAAAk5hbWUADQAAAExpbmtEYXRhTGlzdAAQVmVyc2lvbgAAAAAACUxhc3RXcml0ZQDXCZ3OlQEAAAABAP////9hAGEAAAAFX2lkABAAAAAEZEeou2kaU0yiS/CMvvNqMAREYXRhAAUAAAAAAk5hbWUADQAAAExpbmtEYXRhTGlzdAAQVmVyc2lvbgABAAAACUxhc3RXcml0ZQDaCZ3OlQEAAAACAP////9wAHAAAAAFX2lkABAAAAAEH7MQJ/jL6E2bX1OjhjM9DwNEYXRhABYAAAACUGVyc29uYWxJZAABAAAAAAACTmFtZQALAAAAUGVyc29uYWxJZAAQVmVyc2lvbgAAAAAACUxhc3RXcml0ZQABCp3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49531317766"/>
  <p:tag name="EMPOWERCHARTSPROPERTIES_B_LENGTH" val="24576"/>
  <p:tag name="DOWN_MIGRATION_INITIAL_LAYOUT_REQUIRED" val="9.2.99"/>
  <p:tag name="RUNTIME_ID" val="a18a42ed-5ad2-44da-b86e-56ff80560c7b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/////wUA8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+Bc3Fcvc1In/jxy5NsW/sEAAAAAAADAAAABAADAAAAAwADAAEA////////BQAAAAMAEAALZEeou2kaU0yiS/CMvvNqMAQAAAABAAMAAAACAAMAAAABAAQABAD///////8FAAAABAAQAAsfsxAn+MvoTZtfU6OGMz0PBAAAAAIAAwAAAAAAAwAAAAIA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4FzcVy9zUif+PHLk2xb+wREYXRhAAUAAAAAAk5hbWUADQAAAExpbmtEYXRhTGlzdAAQVmVyc2lvbgAAAAAACUxhc3RXcml0ZQDXCZ3OlQEAAAABAP////9hAGEAAAAFX2lkABAAAAAEZEeou2kaU0yiS/CMvvNqMAREYXRhAAUAAAAAAk5hbWUADQAAAExpbmtEYXRhTGlzdAAQVmVyc2lvbgABAAAACUxhc3RXcml0ZQDaCZ3OlQEAAAACAP////9wAHAAAAAFX2lkABAAAAAEH7MQJ/jL6E2bX1OjhjM9DwNEYXRhABYAAAACUGVyc29uYWxJZAABAAAAAAACTmFtZQALAAAAUGVyc29uYWxJZAAQVmVyc2lvbgAAAAAACUxhc3RXcml0ZQABCp3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49531317766"/>
  <p:tag name="EMPOWERCHARTSPROPERTIES_B_LENGTH" val="24576"/>
  <p:tag name="DOWN_MIGRATION_INITIAL_LAYOUT_REQUIRED" val="9.2.99"/>
  <p:tag name="RUNTIME_ID" val="eeff1779-d53a-421d-9749-a2771540d3e9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zgsAAAAAAAAAAAAAIAD///////////////8AAAD///////////////8DAAAAAgD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6RH0gf7S7NEliOym2+LpGoEAAAAAAADAAAAAAADAAAABAADAAAAAAADAAAABAADAAUA////////BQAAAAMAEAALXMXg274k2Eu5h36gDE+1YwQAAAABAAMAAAAEAAMAAAABAAMAAAAEAP///////wMAAAAAAP///////wMAAAAAAP///////wMAAAAAAP///////wQAAgD///////8FAAAABAAQAAvCIv6LnyhlQYZg5UiMwKg/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pEfSB/tLs0SWI7Kbb4ukagREYXRhAAUAAAAAAk5hbWUADQAAAExpbmtEYXRhTGlzdAAQVmVyc2lvbgAAAAAACUxhc3RXcml0ZQBpE+DRlQEAAAABAP////9hAGEAAAAFX2lkABAAAAAEXMXg274k2Eu5h36gDE+1YwREYXRhAAUAAAAAAk5hbWUADQAAAExpbmtEYXRhTGlzdAAQVmVyc2lvbgABAAAACUxhc3RXcml0ZQBvE+DRlQEAAAACAP////9wAHAAAAAFX2lkABAAAAAEwiL+i58oZUGGYOVIjMCoPwNEYXRhABYAAAACUGVyc29uYWxJZAABAAAAAAACTmFtZQALAAAAUGVyc29uYWxJZAAQVmVyc2lvbgAAAAAACUxhc3RXcml0ZQCNE+DR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CAP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UBAwAAAAMA////////DgAGTGlua0RhdGFMaXN0XzEEAAAAAQAFAAAAAgAFAAAABAAFAAAAAgAFAAAABAAFAAAAAAD///////8FAAAAAAD///////8FAAAAAA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796781276608"/>
  <p:tag name="EMPOWERCHARTSPROPERTIES_B_LENGTH" val="24576"/>
  <p:tag name="DOWN_MIGRATION_INITIAL_LAYOUT_REQUIRED" val="9.2.99"/>
  <p:tag name="RUNTIME_ID" val="f425cf83-c329-43ce-bd97-d025e249e95f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2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6CWzlhIzhKoctfMxe9Bg0EAAAAAAADAAAAAAADAAAAAwADAAAAAAADAAAAAwADAAAAAAADAAAABAADAAIA////////BQAAAAMAEAALKkvyUTBtRUyRFkK8/PjHFwQAAAABAAMAAAACAAMAAAAEAAMAAAACAAMAAAAEAAQAAwD///////8FAAAABAAQAAvLs4OaU9yFQLx56wjM82YMBAAAAAIAAwAAAAMAAwAAAAEAAwAAAAM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oJbOWEjOEqhy18zF70GDQREYXRhAAUAAAAAAk5hbWUADQAAAExpbmtEYXRhTGlzdAAQVmVyc2lvbgAAAAAACUxhc3RXcml0ZQBRFuDRlQEAAAABAP////9hAGEAAAAFX2lkABAAAAAEKkvyUTBtRUyRFkK8/PjHFwREYXRhAAUAAAAAAk5hbWUADQAAAExpbmtEYXRhTGlzdAAQVmVyc2lvbgABAAAACUxhc3RXcml0ZQBUFuDRlQEAAAACAP////9wAHAAAAAFX2lkABAAAAAEy7ODmlPchUC8eesIzPNmDANEYXRhABYAAAACUGVyc29uYWxJZAABAAAAAAACTmFtZQALAAAAUGVyc29uYWxJZAAQVmVyc2lvbgAAAAAACUxhc3RXcml0ZQB9FuDR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AwAFAAAAAAAFAAAABAADAAIBAwAAAAMA////////DgAGTGlua0RhdGFMaXN0XzEEAAAAAQAFAAAAAgAFAAAABAAFAAAAAgAFAAAABAAEAAMBAwAAAAQA////////DAAGUGVyc29uYWxJZF8wBAAAAAIABQAAAAMABQAAAAEABQAAAAM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796788882352"/>
  <p:tag name="EMPOWERCHARTSPROPERTIES_B_LENGTH" val="24576"/>
  <p:tag name="DOWN_MIGRATION_INITIAL_LAYOUT_REQUIRED" val="9.2.99"/>
  <p:tag name="RUNTIME_ID" val="ddbc9c7f-af49-405b-ad6d-f69287e6ec2c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4NO+HbT661KpL+FTvtlkzEEAAAAAAADAAAAAAADAAAABAADAAAAAAADAAAAAwADAAAAAAADAAAAAwADAAAAAAD///////8DAAMA////////BQAAAAMAEAALrJ3iwjfd80K4wikCVqBiWAQAAAABAAMAAAAEAAMAAAABAAMAAAACAP///////wMAAAACAP///////wQAAQD///////8FAAAABAAQAAtMB/CqRtXETp3T+yv3GFg9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g074dtPrrUqkv4VO+2WTMQREYXRhAAUAAAAAAk5hbWUADQAAAExpbmtEYXRhTGlzdAAQVmVyc2lvbgABAAAACUxhc3RXcml0ZQD8GODRlQEAAAABAP////9hAGEAAAAFX2lkABAAAAAErJ3iwjfd80K4wikCVqBiWAREYXRhAAUAAAAAAk5hbWUADQAAAExpbmtEYXRhTGlzdAAQVmVyc2lvbgAAAAAACUxhc3RXcml0ZQD8GODRlQEAAAACAP////9wAHAAAAAFX2lkABAAAAAETAfwqkbVxE6d0/sr9xhYPQNEYXRhABYAAAACUGVyc29uYWxJZAABAAAAAAACTmFtZQALAAAAUGVyc29uYWxJZAAQVmVyc2lvbgAAAAAACUxhc3RXcml0ZQAiGeDR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DAP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AFAAAABAAFAAAAAwAFAAAABAAFAAAAAAD///////8DAAMBAwAAAAMA////////DgAGTGlua0RhdGFMaXN0XzAEAAAAAQAFAAAAAAAFAAAAAgAFAAAAAAAFAAAAAgAFAAAAAAAFAAAAAgAEAAMBAwAAAAQA////////DAAGUGVyc29uYWxJZF8wBAAAAAIABQAAAAIABQAAAAEA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796795605122"/>
  <p:tag name="EMPOWERCHARTSPROPERTIES_B_LENGTH" val="24576"/>
  <p:tag name="DOWN_MIGRATION_INITIAL_LAYOUT_REQUIRED" val="9.2.99"/>
  <p:tag name="RUNTIME_ID" val="88f0e938-d022-4c88-ab82-4f26dcfb31b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AvRy9LBJ9LjA1ohHsUVC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AvRy9LBJ9LjA1ohHsUVCkDRGF0YQAWAAAAAlBlcnNvbmFsSWQAAQAAAAAAAk5hbWUACwAAAFBlcnNvbmFsSWQAEFZlcnNpb24AAAAAAAlMYXN0V3JpdGUAJuF1D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52531674111544"/>
  <p:tag name="EMPOWERCHARTSPROPERTIES_A_LENGTH" val="24576"/>
  <p:tag name="RUNTIME_ID" val="b41a4bd0-2c74-4930-9ed2-23060dd83cf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gBAQEBAQEBAQEBAQEBAQMAAAAAAAAAAwAAAAMAAAAA/////wUAzgsAAAAAAAAAAAAAIAD///////////////8AAAD///////////////8DAAAABAD///////8DAAAABA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PZ7dI6AcVOhfD7i2liGxMEAAAAAAADAAAABAADAAAAAwADAAAABAADAAAAAwADAAUA////////BQAAAAMAEAALsYav4wm7r0Wz33gc4YpU+AQAAAABAAMAAAACAAMAAAABAAMAAAACAP///////wMAAAAAAP///////wMAAAAAAP///////wMAAAAAAP///////wQAAgD///////8FAAAABAAQAAucrhosWFoHTbcDM3jwgcDF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9nt0joBxU6F8PuLaWIbEwREYXRhAAUAAAAAAk5hbWUADQAAAExpbmtEYXRhTGlzdAAQVmVyc2lvbgABAAAACUxhc3RXcml0ZQC+AsrRlQEAAAABAP////9hAGEAAAAFX2lkABAAAAAEsYav4wm7r0Wz33gc4YpU+AREYXRhAAUAAAAAAk5hbWUADQAAAExpbmtEYXRhTGlzdAAQVmVyc2lvbgAAAAAACUxhc3RXcml0ZQC9AsrRlQEAAAACAP////9wAHAAAAAFX2lkABAAAAAEnK4aLFhaB023AzN48IHAxQNEYXRhABYAAAACUGVyc29uYWxJZAABAAAAAAACTmFtZQALAAAAUGVyc29uYWxJZAAQVmVyc2lvbgAAAAAACUxhc3RXcml0ZQDkAsrR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OCwAAAAAAAAAAAAAgAf///////////////wAAAP///////////////wUAAAADAP///////wUAAAADAP///////wUAAAADAP///////wUAAAADAP///////wUAAAAD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AFAAAABAADAAUBAwAAAAMA////////DgAGTGlua0RhdGFMaXN0XzAEAAAAAQAFAAAAAAAFAAAAAgAFAAAAAAAFAAAAAgAFAAAAAAAFAAAABAAFAAAAAAAFAAAABAAFAAAAAAAFAAAABAAEAAgBAwAAAAQA////////DAAGUGVyc29uYWxJZF8wBAAAAAIABQAAAAIABQAAAAEABQAAAAIA////////BQAAAAMA////////BQAAAAMA////////BQAAAAM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782320569972"/>
  <p:tag name="EMPOWERCHARTSPROPERTIES_B_LENGTH" val="24576"/>
  <p:tag name="DOWN_MIGRATION_INITIAL_LAYOUT_REQUIRED" val="9.2.99"/>
  <p:tag name="RUNTIME_ID" val="d251ddab-111d-454c-946a-eecdebc80e1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/////wUA8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+Bc3Fcvc1In/jxy5NsW/sEAAAAAAADAAAABAADAAAAAwADAAEA////////BQAAAAMAEAALZEeou2kaU0yiS/CMvvNqMAQAAAABAAMAAAACAAMAAAABAAQABAD///////8FAAAABAAQAAsfsxAn+MvoTZtfU6OGMz0PBAAAAAIAAwAAAAAAAwAAAAIA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4FzcVy9zUif+PHLk2xb+wREYXRhAAUAAAAAAk5hbWUADQAAAExpbmtEYXRhTGlzdAAQVmVyc2lvbgAAAAAACUxhc3RXcml0ZQDXCZ3OlQEAAAABAP////9hAGEAAAAFX2lkABAAAAAEZEeou2kaU0yiS/CMvvNqMAREYXRhAAUAAAAAAk5hbWUADQAAAExpbmtEYXRhTGlzdAAQVmVyc2lvbgABAAAACUxhc3RXcml0ZQDaCZ3OlQEAAAACAP////9wAHAAAAAFX2lkABAAAAAEH7MQJ/jL6E2bX1OjhjM9DwNEYXRhABYAAAACUGVyc29uYWxJZAABAAAAAAACTmFtZQALAAAAUGVyc29uYWxJZAAQVmVyc2lvbgAAAAAACUxhc3RXcml0ZQABCp3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49531317766"/>
  <p:tag name="EMPOWERCHARTSPROPERTIES_B_LENGTH" val="24576"/>
  <p:tag name="DOWN_MIGRATION_INITIAL_LAYOUT_REQUIRED" val="9.2.99"/>
  <p:tag name="RUNTIME_ID" val="123e4c04-4842-4210-94e8-79061cd0a34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Do6SaOyNtLuQmtQwboqlEEAAAAAAADAAAABAADAAAAAwADAAEA////////BQAAAAMAEAALWWXOM2W2iUOZku9I4cmYcgQAAAABAAMAAAACAAMAAAABAAQAAgD///////8FAAAABAAQAAtfqwcSu2e2Q6Vi+1mCJ2/1BA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OjpJo7I20u5Ca1DBuiqUQREYXRhAAUAAAAAAk5hbWUADQAAAExpbmtEYXRhTGlzdAAQVmVyc2lvbgAAAAAACUxhc3RXcml0ZQBJGcrRlQEAAAABAP////9hAGEAAAAFX2lkABAAAAAEWWXOM2W2iUOZku9I4cmYcgREYXRhAAUAAAAAAk5hbWUADQAAAExpbmtEYXRhTGlzdAAQVmVyc2lvbgABAAAACUxhc3RXcml0ZQBKGcrRlQEAAAACAP////9wAHAAAAAFX2lkABAAAAAEX6sHErtntkOlYvtZgidv9QNEYXRhABYAAAACUGVyc29uYWxJZAABAAAAAAACTmFtZQALAAAAUGVyc29uYWxJZAAQVmVyc2lvbgAAAAAACUxhc3RXcml0ZQBgGcrR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782378146096"/>
  <p:tag name="EMPOWERCHARTSPROPERTIES_B_LENGTH" val="24576"/>
  <p:tag name="DOWN_MIGRATION_INITIAL_LAYOUT_REQUIRED" val="9.2.99"/>
  <p:tag name="RUNTIME_ID" val="5efaf6d3-8296-497b-b089-47f19ac05bd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/////wUA8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+Bc3Fcvc1In/jxy5NsW/sEAAAAAAADAAAABAADAAAAAwADAAEA////////BQAAAAMAEAALZEeou2kaU0yiS/CMvvNqMAQAAAABAAMAAAACAAMAAAABAAQABAD///////8FAAAABAAQAAsfsxAn+MvoTZtfU6OGMz0PBAAAAAIAAwAAAAAAAwAAAAIA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4FzcVy9zUif+PHLk2xb+wREYXRhAAUAAAAAAk5hbWUADQAAAExpbmtEYXRhTGlzdAAQVmVyc2lvbgAAAAAACUxhc3RXcml0ZQDXCZ3OlQEAAAABAP////9hAGEAAAAFX2lkABAAAAAEZEeou2kaU0yiS/CMvvNqMAREYXRhAAUAAAAAAk5hbWUADQAAAExpbmtEYXRhTGlzdAAQVmVyc2lvbgABAAAACUxhc3RXcml0ZQDaCZ3OlQEAAAACAP////9wAHAAAAAFX2lkABAAAAAEH7MQJ/jL6E2bX1OjhjM9DwNEYXRhABYAAAACUGVyc29uYWxJZAABAAAAAAACTmFtZQALAAAAUGVyc29uYWxJZAAQVmVyc2lvbgAAAAAACUxhc3RXcml0ZQABCp3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49531317766"/>
  <p:tag name="EMPOWERCHARTSPROPERTIES_B_LENGTH" val="24576"/>
  <p:tag name="DOWN_MIGRATION_INITIAL_LAYOUT_REQUIRED" val="9.2.99"/>
  <p:tag name="RUNTIME_ID" val="410f74fa-1bf4-4400-9103-d08505fa65b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3Vecx4D4OlFiCd2ZYz2DJoEAAAAAAADAAAAAAADAAAABAADAAIA////////BQAAAAMAEAALNMopsCQyjE6PhUt6DG9bLAQAAAABAAMAAAAEAAMAAAABAAMAAAAAAP///////wQAAQD///////8FAAAABAAQAAvliDti7DOFQqSHy/MH5axg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dV5zHgPg6UWIJ3ZljPYMmgREYXRhAAUAAAAAAk5hbWUADQAAAExpbmtEYXRhTGlzdAAQVmVyc2lvbgABAAAACUxhc3RXcml0ZQB7MMrRlQEAAAABAP////9hAGEAAAAFX2lkABAAAAAENMopsCQyjE6PhUt6DG9bLAREYXRhAAUAAAAAAk5hbWUADQAAAExpbmtEYXRhTGlzdAAQVmVyc2lvbgAAAAAACUxhc3RXcml0ZQB7MMrRlQEAAAACAP////9wAHAAAAAFX2lkABAAAAAE5Yg7YuwzhUKkh8vzB+WsYANEYXRhABYAAAACUGVyc29uYWxJZAABAAAAAAACTmFtZQALAAAAUGVyc29uYWxJZAAQVmVyc2lvbgAAAAAACUxhc3RXcml0ZQCRMMrR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782437524731"/>
  <p:tag name="EMPOWERCHARTSPROPERTIES_B_LENGTH" val="24576"/>
  <p:tag name="DOWN_MIGRATION_INITIAL_LAYOUT_REQUIRED" val="9.2.99"/>
  <p:tag name="RUNTIME_ID" val="93f3105c-4884-4a7b-b907-f20da2745aff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/////wUA8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+Bc3Fcvc1In/jxy5NsW/sEAAAAAAADAAAABAADAAAAAwADAAEA////////BQAAAAMAEAALZEeou2kaU0yiS/CMvvNqMAQAAAABAAMAAAACAAMAAAABAAQABAD///////8FAAAABAAQAAsfsxAn+MvoTZtfU6OGMz0PBAAAAAIAAwAAAAAAAwAAAAIA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4FzcVy9zUif+PHLk2xb+wREYXRhAAUAAAAAAk5hbWUADQAAAExpbmtEYXRhTGlzdAAQVmVyc2lvbgAAAAAACUxhc3RXcml0ZQDXCZ3OlQEAAAABAP////9hAGEAAAAFX2lkABAAAAAEZEeou2kaU0yiS/CMvvNqMAREYXRhAAUAAAAAAk5hbWUADQAAAExpbmtEYXRhTGlzdAAQVmVyc2lvbgABAAAACUxhc3RXcml0ZQDaCZ3OlQEAAAACAP////9wAHAAAAAFX2lkABAAAAAEH7MQJ/jL6E2bX1OjhjM9DwNEYXRhABYAAAACUGVyc29uYWxJZAABAAAAAAACTmFtZQALAAAAUGVyc29uYWxJZAAQVmVyc2lvbgAAAAAACUxhc3RXcml0ZQABCp3O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5249531317766"/>
  <p:tag name="EMPOWERCHARTSPROPERTIES_B_LENGTH" val="24576"/>
  <p:tag name="DOWN_MIGRATION_INITIAL_LAYOUT_REQUIRED" val="9.2.99"/>
  <p:tag name="RUNTIME_ID" val="570bdf18-f8bf-4e05-8fdc-19842dde5f48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AvRy9LBJ9LjA1ohHsUVC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AvRy9LBJ9LjA1ohHsUVCkDRGF0YQAWAAAAAlBlcnNvbmFsSWQAAQAAAAAAAk5hbWUACwAAAFBlcnNvbmFsSWQAEFZlcnNpb24AAAAAAAlMYXN0V3JpdGUAJuF1D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52531674111544"/>
  <p:tag name="EMPOWERCHARTSPROPERTIES_A_LENGTH" val="24576"/>
  <p:tag name="RUNTIME_ID" val="b41a4bd0-2c74-4930-9ed2-23060dd83cf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jzUgThNFFCuomCDvBIQxsEAAAAAAADAAAAAAADAAAAAwADAAIA////////BQAAAAMAEAALeE2TRZsY0EWlw38JVk14WAQAAAABAAMAAAACAAMAAAAEAAMAAAAAAAMAAAAEAAQAAgD///////8FAAAABAAQAAvnRiOUdWflSaBExiPRQSFz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PNSBOE0UUK6iYIO8EhDGwREYXRhAAUAAAAAAk5hbWUADQAAAExpbmtEYXRhTGlzdAAQVmVyc2lvbgAAAAAACUxhc3RXcml0ZQAHjNxclQEAAAABAP////9wAHAAAAAFX2lkABAAAAAEeE2TRZsY0EWlw38JVk14WANEYXRhABYAAAACUGVyc29uYWxJZAABAAAAAAACTmFtZQALAAAAUGVyc29uYWxJZAAQVmVyc2lvbgAAAAAACUxhc3RXcml0ZQC/04IPjgEAAAACAP////9hAGEAAAAFX2lkABAAAAAE50YjlHVn5UmgRMYj0UEhcwREYXRhAAUAAAAAAk5hbWUADQAAAExpbmtEYXRhTGlzdAAQVmVyc2lvbgABAAAACUxhc3RXcml0ZQAHjN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QA////////BAACAQMAAAAEAP///////w4ABkxpbmtEYXRhTGlzdF8xBAAAAAIABQAAAAIABQAAAAM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25356793"/>
  <p:tag name="EMPOWERCHARTSPROPERTIES_B_LENGTH" val="24576"/>
  <p:tag name="DOWN_MIGRATION_INITIAL_LAYOUT_REQUIRED" val="9.2.99"/>
  <p:tag name="RUNTIME_ID" val="9175cc13-72d6-4435-b7a4-158168a03a3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5gsAAAAAAAAAAAAAIAD///////////////8AAAD////////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SxHAjsHplLnm7ubIzlu0MEAAAAAAADAAAAAAADAAAAAwADAAAAAAADAAAABAADAAEA////////BQAAAAMAEAALwMdTsBGC9k+Oq5IpVhGMEgQAAAABAAMAAAACAAMAAAAEAAQABAD///////8FAAAABAAQAAulvT3xoRslQYtPifi9VO9QBAAAAAIAAwAAAAMAAwAAAAEAAwAAAAI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LEcCOwemUuebu5sjOW7QwREYXRhAAUAAAAAAk5hbWUADQAAAExpbmtEYXRhTGlzdAAQVmVyc2lvbgABAAAACUxhc3RXcml0ZQByhtxclQEAAAABAP////9hAGEAAAAFX2lkABAAAAAEwMdTsBGC9k+Oq5IpVhGMEgREYXRhAAUAAAAAAk5hbWUADQAAAExpbmtEYXRhTGlzdAAQVmVyc2lvbgAAAAAACUxhc3RXcml0ZQByhtxclQEAAAACAP////9wAHAAAAAFX2lkABAAAAAEpb098aEbJUGLT4n4vVTvUANEYXRhABYAAAACUGVyc29uYWxJZAABAAAAAAACTmFtZQALAAAAUGVyc29uYWxJZAAQVmVyc2lvbgAAAAAACUxhc3RXcml0ZQBQM/cSj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177871"/>
  <p:tag name="EMPOWERCHARTSPROPERTIES_B_LENGTH" val="24576"/>
  <p:tag name="DOWN_MIGRATION_INITIAL_LAYOUT_REQUIRED" val="9.2.99"/>
  <p:tag name="RUNTIME_ID" val="5b1a50f2-2f4f-437b-9d88-841a6ca2131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gzOKAoaONKmlN8KdJ27K0EAAAAAAADAAAAAAADAAAAAwADAAIA////////BQAAAAMAEAAL1AzMrQSInUmTaG6ajcmLOgQAAAABAAMAAAACAAMAAAAEAAMAAAAAAP///////wQAAQD///////8FAAAABAAQAAsc1mrSym0zQrODObrHKYi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DM4oCho40qaU3wp0nbsrQREYXRhAAUAAAAAAk5hbWUADQAAAExpbmtEYXRhTGlzdAAQVmVyc2lvbgAAAAAACUxhc3RXcml0ZQCmhtxclQEAAAABAP////9wAHAAAAAFX2lkABAAAAAE1AzMrQSInUmTaG6ajcmLOgNEYXRhABYAAAACUGVyc29uYWxJZAABAAAAAAACTmFtZQALAAAAUGVyc29uYWxJZAAQVmVyc2lvbgAAAAAACUxhc3RXcml0ZQDM/6TPjAEAAAACAP////9hAGEAAAAFX2lkABAAAAAEHNZq0sptM0Kzgzm6xymIvAREYXRhAAUAAAAAAk5hbWUADQAAAExpbmtEYXRhTGlzdAAQVmVyc2lvbgABAAAACUxhc3RXcml0ZQCtht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AA////////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595121"/>
  <p:tag name="EMPOWERCHARTSPROPERTIES_B_LENGTH" val="24576"/>
  <p:tag name="DOWN_MIGRATION_INITIAL_LAYOUT_REQUIRED" val="9.2.99"/>
  <p:tag name="RUNTIME_ID" val="66d08ce1-5a4b-449c-93ab-df98bcaf8dc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jzUgThNFFCuomCDvBIQxsEAAAAAAADAAAAAAADAAAAAwADAAIA////////BQAAAAMAEAALeE2TRZsY0EWlw38JVk14WAQAAAABAAMAAAACAAMAAAAEAAMAAAAAAAMAAAAEAAQAAgD///////8FAAAABAAQAAvnRiOUdWflSaBExiPRQSFz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PNSBOE0UUK6iYIO8EhDGwREYXRhAAUAAAAAAk5hbWUADQAAAExpbmtEYXRhTGlzdAAQVmVyc2lvbgAAAAAACUxhc3RXcml0ZQAHjNxclQEAAAABAP////9wAHAAAAAFX2lkABAAAAAEeE2TRZsY0EWlw38JVk14WANEYXRhABYAAAACUGVyc29uYWxJZAABAAAAAAACTmFtZQALAAAAUGVyc29uYWxJZAAQVmVyc2lvbgAAAAAACUxhc3RXcml0ZQC/04IPjgEAAAACAP////9hAGEAAAAFX2lkABAAAAAE50YjlHVn5UmgRMYj0UEhcwREYXRhAAUAAAAAAk5hbWUADQAAAExpbmtEYXRhTGlzdAAQVmVyc2lvbgABAAAACUxhc3RXcml0ZQAHjN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QA////////BAACAQMAAAAEAP///////w4ABkxpbmtEYXRhTGlzdF8xBAAAAAIABQAAAAIABQAAAAM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25356793"/>
  <p:tag name="EMPOWERCHARTSPROPERTIES_B_LENGTH" val="24576"/>
  <p:tag name="DOWN_MIGRATION_INITIAL_LAYOUT_REQUIRED" val="9.2.99"/>
  <p:tag name="RUNTIME_ID" val="9f3515e4-34a8-4cfa-9642-4f3951f0453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4RTdQATXnZAmg8MMGR4XdYEAAAAAAADAAAAAAADAAAAAwADAAIA////////BQAAAAMAEAALlC3tvbCnSkqgSLOmM/O52AQAAAABAAMAAAACAAMAAAAEAAMAAAAAAP///////wQAAQD///////8FAAAABAAQAAsnd4LFBCeaRrCylm2ikSvv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FN1ABNedkCaDwwwZHhd1gREYXRhAAUAAAAAAk5hbWUADQAAAExpbmtEYXRhTGlzdAAQVmVyc2lvbgABAAAACUxhc3RXcml0ZQDkxWRllQEAAAABAP////9hAGEAAAAFX2lkABAAAAAElC3tvbCnSkqgSLOmM/O52AREYXRhAAUAAAAAAk5hbWUADQAAAExpbmtEYXRhTGlzdAAQVmVyc2lvbgAAAAAACUxhc3RXcml0ZQDkxWRllQEAAAACAP////9wAHAAAAAFX2lkABAAAAAEJ3eCxQQnmkawspZtopEr7wNEYXRhABYAAAACUGVyc29uYWxJZAABAAAAAAACTmFtZQALAAAAUGVyc29uYWxJZAAQVmVyc2lvbgAAAAAACUxhc3RXcml0ZQD2xWR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QBAwAAAAQA////////DAAGUGVyc29uYWxJZF8wBAAAAAIABQAAAAIABQAAAAEABQAAAAM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RUNTIME_ID" val="4c0bcb10-e701-4d35-b0c9-db7c33aa6bae"/>
  <p:tag name="DOWN_MIGRATION_INITIAL_LAYOUT_REQUIRED" val="9.2.99"/>
  <p:tag name="EMPOWERCHARTSPROPERTIES_LASTWRITEDATE" val="638767596579899308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/////wUA8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1emVAAGgZVEmD6YMg0BLXUEAAAAAAADAAAAAAADAAAAAwADAAAAAAADAAAABAADAAAAAAD///////8DAAEA////////BQAAAAMAEAAL/jeRRFRtlkOXDJjemT4jxgQAAAABAAMAAAACAAMAAAAEAAQAAgD///////8FAAAABAAQAAuKKCSbPfaGQY+jd9iLPzMABAAAAAIAAwAAAAMAAwAAAAE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6ZUAAaBlUSYPpgyDQEtdQREYXRhAAUAAAAAAk5hbWUADQAAAExpbmtEYXRhTGlzdAAQVmVyc2lvbgAAAAAACUxhc3RXcml0ZQCqfaVllQEAAAABAP////9hAGEAAAAFX2lkABAAAAAE/jeRRFRtlkOXDJjemT4jxgREYXRhAAUAAAAAAk5hbWUADQAAAExpbmtEYXRhTGlzdAAQVmVyc2lvbgABAAAACUxhc3RXcml0ZQCrfaVllQEAAAACAP////9wAHAAAAAFX2lkABAAAAAEiigkmz32hkGPo3fYiz8zAANEYXRhABYAAAACUGVyc29uYWxJZAABAAAAAAACTmFtZQALAAAAUGVyc29uYWxJZAAQVmVyc2lvbgAAAAAACUxhc3RXcml0ZQDefaV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BAAFAAAAAAAFAAAABAADAAEBAwAAAAMA////////DgAGTGlua0RhdGFMaXN0XzEEAAAAAQAFAAAAAgAFAAAABAAEAAQBAwAAAAQA////////DAAGUGVyc29uYWxJZF8wBAAAAAIABQAAAAMABQAAAAEABQAAAAIA////////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7638993812287"/>
  <p:tag name="EMPOWERCHARTSPROPERTIES_B_LENGTH" val="24576"/>
  <p:tag name="DOWN_MIGRATION_INITIAL_LAYOUT_REQUIRED" val="9.2.99"/>
  <p:tag name="RUNTIME_ID" val="f47451b5-a661-4dba-a3ce-e96cfb97140b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5gsAAAAAAAAAAAAAIAD///////////////8AAAD////////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SxHAjsHplLnm7ubIzlu0MEAAAAAAADAAAAAAADAAAAAwADAAAAAAADAAAABAADAAEA////////BQAAAAMAEAALwMdTsBGC9k+Oq5IpVhGMEgQAAAABAAMAAAACAAMAAAAEAAQABAD///////8FAAAABAAQAAulvT3xoRslQYtPifi9VO9QBAAAAAIAAwAAAAMAAwAAAAEAAwAAAAI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LEcCOwemUuebu5sjOW7QwREYXRhAAUAAAAAAk5hbWUADQAAAExpbmtEYXRhTGlzdAAQVmVyc2lvbgABAAAACUxhc3RXcml0ZQByhtxclQEAAAABAP////9hAGEAAAAFX2lkABAAAAAEwMdTsBGC9k+Oq5IpVhGMEgREYXRhAAUAAAAAAk5hbWUADQAAAExpbmtEYXRhTGlzdAAQVmVyc2lvbgAAAAAACUxhc3RXcml0ZQByhtxclQEAAAACAP////9wAHAAAAAFX2lkABAAAAAEpb098aEbJUGLT4n4vVTvUANEYXRhABYAAAACUGVyc29uYWxJZAABAAAAAAACTmFtZQALAAAAUGVyc29uYWxJZAAQVmVyc2lvbgAAAAAACUxhc3RXcml0ZQBQM/cSj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177871"/>
  <p:tag name="EMPOWERCHARTSPROPERTIES_B_LENGTH" val="24576"/>
  <p:tag name="DOWN_MIGRATION_INITIAL_LAYOUT_REQUIRED" val="9.2.99"/>
  <p:tag name="RUNTIME_ID" val="cf83e514-8350-41aa-9b54-3208eecec4d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gzOKAoaONKmlN8KdJ27K0EAAAAAAADAAAAAAADAAAAAwADAAIA////////BQAAAAMAEAAL1AzMrQSInUmTaG6ajcmLOgQAAAABAAMAAAACAAMAAAAEAAMAAAAAAP///////wQAAQD///////8FAAAABAAQAAsc1mrSym0zQrODObrHKYi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DM4oCho40qaU3wp0nbsrQREYXRhAAUAAAAAAk5hbWUADQAAAExpbmtEYXRhTGlzdAAQVmVyc2lvbgAAAAAACUxhc3RXcml0ZQCmhtxclQEAAAABAP////9wAHAAAAAFX2lkABAAAAAE1AzMrQSInUmTaG6ajcmLOgNEYXRhABYAAAACUGVyc29uYWxJZAABAAAAAAACTmFtZQALAAAAUGVyc29uYWxJZAAQVmVyc2lvbgAAAAAACUxhc3RXcml0ZQDM/6TPjAEAAAACAP////9hAGEAAAAFX2lkABAAAAAEHNZq0sptM0Kzgzm6xymIvAREYXRhAAUAAAAAAk5hbWUADQAAAExpbmtEYXRhTGlzdAAQVmVyc2lvbgABAAAACUxhc3RXcml0ZQCtht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AA////////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595121"/>
  <p:tag name="EMPOWERCHARTSPROPERTIES_B_LENGTH" val="24576"/>
  <p:tag name="DOWN_MIGRATION_INITIAL_LAYOUT_REQUIRED" val="9.2.99"/>
  <p:tag name="RUNTIME_ID" val="1f265ab0-c2f9-4174-bbe4-1efebfb2f72f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jzUgThNFFCuomCDvBIQxsEAAAAAAADAAAAAAADAAAAAwADAAIA////////BQAAAAMAEAALeE2TRZsY0EWlw38JVk14WAQAAAABAAMAAAACAAMAAAAEAAMAAAAAAAMAAAAEAAQAAgD///////8FAAAABAAQAAvnRiOUdWflSaBExiPRQSFz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PNSBOE0UUK6iYIO8EhDGwREYXRhAAUAAAAAAk5hbWUADQAAAExpbmtEYXRhTGlzdAAQVmVyc2lvbgAAAAAACUxhc3RXcml0ZQAHjNxclQEAAAABAP////9wAHAAAAAFX2lkABAAAAAEeE2TRZsY0EWlw38JVk14WANEYXRhABYAAAACUGVyc29uYWxJZAABAAAAAAACTmFtZQALAAAAUGVyc29uYWxJZAAQVmVyc2lvbgAAAAAACUxhc3RXcml0ZQC/04IPjgEAAAACAP////9hAGEAAAAFX2lkABAAAAAE50YjlHVn5UmgRMYj0UEhcwREYXRhAAUAAAAAAk5hbWUADQAAAExpbmtEYXRhTGlzdAAQVmVyc2lvbgABAAAACUxhc3RXcml0ZQAHjN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QA////////BAACAQMAAAAEAP///////w4ABkxpbmtEYXRhTGlzdF8xBAAAAAIABQAAAAIABQAAAAM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25356793"/>
  <p:tag name="EMPOWERCHARTSPROPERTIES_B_LENGTH" val="24576"/>
  <p:tag name="DOWN_MIGRATION_INITIAL_LAYOUT_REQUIRED" val="9.2.99"/>
  <p:tag name="RUNTIME_ID" val="15010913-aa61-433c-a949-45936c31866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zzu8FfBT0hAveeEPh4SZ58EAAAAAAADAAAABAADAAAAAwADAAAAAAD///////8DAAEA////////BQAAAAMAEAALvwKbwZ9HskSyp4reA9q8HQQAAAABAAMAAAACAAMAAAABAAQAAQD///////8FAAAABAAQAAtt9Hcb4Q7lRbbcANYraOJa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PO7wV8FPSEC954Q+HhJnnwREYXRhAAUAAAAAAk5hbWUADQAAAExpbmtEYXRhTGlzdAAQVmVyc2lvbgAAAAAACUxhc3RXcml0ZQBg1mRllQEAAAABAP////9hAGEAAAAFX2lkABAAAAAEvwKbwZ9HskSyp4reA9q8HQREYXRhAAUAAAAAAk5hbWUADQAAAExpbmtEYXRhTGlzdAAQVmVyc2lvbgABAAAACUxhc3RXcml0ZQBh1mRllQEAAAACAP////9wAHAAAAAFX2lkABAAAAAEbfR3G+EO5UW23ADWK2jiWgNEYXRhABYAAAACUGVyc29uYWxJZAABAAAAAAACTmFtZQALAAAAUGVyc29uYWxJZAAQVmVyc2lvbgAAAAAACUxhc3RXcml0ZQBw1mR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DOWN_MIGRATION_INITIAL_LAYOUT_REQUIRED" val="9.2.99"/>
  <p:tag name="EMPOWERCHARTSPROPERTIES_LASTWRITEDATE" val="638767596622067407"/>
  <p:tag name="RUNTIME_ID" val="4734c4cc-8c41-45b1-bb26-bc72d02dba1c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5gsAAAAAAAAAAAAAIAD///////////////8AAAD////////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SxHAjsHplLnm7ubIzlu0MEAAAAAAADAAAAAAADAAAAAwADAAAAAAADAAAABAADAAEA////////BQAAAAMAEAALwMdTsBGC9k+Oq5IpVhGMEgQAAAABAAMAAAACAAMAAAAEAAQABAD///////8FAAAABAAQAAulvT3xoRslQYtPifi9VO9QBAAAAAIAAwAAAAMAAwAAAAEAAwAAAAI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LEcCOwemUuebu5sjOW7QwREYXRhAAUAAAAAAk5hbWUADQAAAExpbmtEYXRhTGlzdAAQVmVyc2lvbgABAAAACUxhc3RXcml0ZQByhtxclQEAAAABAP////9hAGEAAAAFX2lkABAAAAAEwMdTsBGC9k+Oq5IpVhGMEgREYXRhAAUAAAAAAk5hbWUADQAAAExpbmtEYXRhTGlzdAAQVmVyc2lvbgAAAAAACUxhc3RXcml0ZQByhtxclQEAAAACAP////9wAHAAAAAFX2lkABAAAAAEpb098aEbJUGLT4n4vVTvUANEYXRhABYAAAACUGVyc29uYWxJZAABAAAAAAACTmFtZQALAAAAUGVyc29uYWxJZAAQVmVyc2lvbgAAAAAACUxhc3RXcml0ZQBQM/cSj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177871"/>
  <p:tag name="EMPOWERCHARTSPROPERTIES_B_LENGTH" val="24576"/>
  <p:tag name="DOWN_MIGRATION_INITIAL_LAYOUT_REQUIRED" val="9.2.99"/>
  <p:tag name="RUNTIME_ID" val="87ed22f7-85d0-4011-aa6b-0f7196482006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gzOKAoaONKmlN8KdJ27K0EAAAAAAADAAAAAAADAAAAAwADAAIA////////BQAAAAMAEAAL1AzMrQSInUmTaG6ajcmLOgQAAAABAAMAAAACAAMAAAAEAAMAAAAAAP///////wQAAQD///////8FAAAABAAQAAsc1mrSym0zQrODObrHKYi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DM4oCho40qaU3wp0nbsrQREYXRhAAUAAAAAAk5hbWUADQAAAExpbmtEYXRhTGlzdAAQVmVyc2lvbgAAAAAACUxhc3RXcml0ZQCmhtxclQEAAAABAP////9wAHAAAAAFX2lkABAAAAAE1AzMrQSInUmTaG6ajcmLOgNEYXRhABYAAAACUGVyc29uYWxJZAABAAAAAAACTmFtZQALAAAAUGVyc29uYWxJZAAQVmVyc2lvbgAAAAAACUxhc3RXcml0ZQDM/6TPjAEAAAACAP////9hAGEAAAAFX2lkABAAAAAEHNZq0sptM0Kzgzm6xymIvAREYXRhAAUAAAAAAk5hbWUADQAAAExpbmtEYXRhTGlzdAAQVmVyc2lvbgABAAAACUxhc3RXcml0ZQCtht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AA////////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595121"/>
  <p:tag name="EMPOWERCHARTSPROPERTIES_B_LENGTH" val="24576"/>
  <p:tag name="DOWN_MIGRATION_INITIAL_LAYOUT_REQUIRED" val="9.2.99"/>
  <p:tag name="RUNTIME_ID" val="ef8f0dc4-26b4-4727-8939-ac4034abcaec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jzUgThNFFCuomCDvBIQxsEAAAAAAADAAAAAAADAAAAAwADAAIA////////BQAAAAMAEAALeE2TRZsY0EWlw38JVk14WAQAAAABAAMAAAACAAMAAAAEAAMAAAAAAAMAAAAEAAQAAgD///////8FAAAABAAQAAvnRiOUdWflSaBExiPRQSFz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PNSBOE0UUK6iYIO8EhDGwREYXRhAAUAAAAAAk5hbWUADQAAAExpbmtEYXRhTGlzdAAQVmVyc2lvbgAAAAAACUxhc3RXcml0ZQAHjNxclQEAAAABAP////9wAHAAAAAFX2lkABAAAAAEeE2TRZsY0EWlw38JVk14WANEYXRhABYAAAACUGVyc29uYWxJZAABAAAAAAACTmFtZQALAAAAUGVyc29uYWxJZAAQVmVyc2lvbgAAAAAACUxhc3RXcml0ZQC/04IPjgEAAAACAP////9hAGEAAAAFX2lkABAAAAAE50YjlHVn5UmgRMYj0UEhcwREYXRhAAUAAAAAAk5hbWUADQAAAExpbmtEYXRhTGlzdAAQVmVyc2lvbgABAAAACUxhc3RXcml0ZQAHjN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QA////////BAACAQMAAAAEAP///////w4ABkxpbmtEYXRhTGlzdF8xBAAAAAIABQAAAAIABQAAAAM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25356793"/>
  <p:tag name="EMPOWERCHARTSPROPERTIES_B_LENGTH" val="24576"/>
  <p:tag name="DOWN_MIGRATION_INITIAL_LAYOUT_REQUIRED" val="9.2.99"/>
  <p:tag name="RUNTIME_ID" val="55013776-4354-4557-a122-cafc7b0e746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5gsAAAAAAAAAAAAAIAD///////////////8AAAD////////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SxHAjsHplLnm7ubIzlu0MEAAAAAAADAAAAAAADAAAAAwADAAAAAAADAAAABAADAAEA////////BQAAAAMAEAALwMdTsBGC9k+Oq5IpVhGMEgQAAAABAAMAAAACAAMAAAAEAAQABAD///////8FAAAABAAQAAulvT3xoRslQYtPifi9VO9QBAAAAAIAAwAAAAMAAwAAAAEAAwAAAAI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LEcCOwemUuebu5sjOW7QwREYXRhAAUAAAAAAk5hbWUADQAAAExpbmtEYXRhTGlzdAAQVmVyc2lvbgABAAAACUxhc3RXcml0ZQByhtxclQEAAAABAP////9hAGEAAAAFX2lkABAAAAAEwMdTsBGC9k+Oq5IpVhGMEgREYXRhAAUAAAAAAk5hbWUADQAAAExpbmtEYXRhTGlzdAAQVmVyc2lvbgAAAAAACUxhc3RXcml0ZQByhtxclQEAAAACAP////9wAHAAAAAFX2lkABAAAAAEpb098aEbJUGLT4n4vVTvUANEYXRhABYAAAACUGVyc29uYWxJZAABAAAAAAACTmFtZQALAAAAUGVyc29uYWxJZAAQVmVyc2lvbgAAAAAACUxhc3RXcml0ZQBQM/cSj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177871"/>
  <p:tag name="EMPOWERCHARTSPROPERTIES_B_LENGTH" val="24576"/>
  <p:tag name="DOWN_MIGRATION_INITIAL_LAYOUT_REQUIRED" val="9.2.99"/>
  <p:tag name="RUNTIME_ID" val="200f8fd8-2d41-45df-a4f9-2d0e05b6295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gzOKAoaONKmlN8KdJ27K0EAAAAAAADAAAAAAADAAAAAwADAAIA////////BQAAAAMAEAAL1AzMrQSInUmTaG6ajcmLOgQAAAABAAMAAAACAAMAAAAEAAMAAAAAAP///////wQAAQD///////8FAAAABAAQAAsc1mrSym0zQrODObrHKYi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DM4oCho40qaU3wp0nbsrQREYXRhAAUAAAAAAk5hbWUADQAAAExpbmtEYXRhTGlzdAAQVmVyc2lvbgAAAAAACUxhc3RXcml0ZQCmhtxclQEAAAABAP////9wAHAAAAAFX2lkABAAAAAE1AzMrQSInUmTaG6ajcmLOgNEYXRhABYAAAACUGVyc29uYWxJZAABAAAAAAACTmFtZQALAAAAUGVyc29uYWxJZAAQVmVyc2lvbgAAAAAACUxhc3RXcml0ZQDM/6TPjAEAAAACAP////9hAGEAAAAFX2lkABAAAAAEHNZq0sptM0Kzgzm6xymIvAREYXRhAAUAAAAAAk5hbWUADQAAAExpbmtEYXRhTGlzdAAQVmVyc2lvbgABAAAACUxhc3RXcml0ZQCtht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AA////////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595121"/>
  <p:tag name="EMPOWERCHARTSPROPERTIES_B_LENGTH" val="24576"/>
  <p:tag name="DOWN_MIGRATION_INITIAL_LAYOUT_REQUIRED" val="9.2.99"/>
  <p:tag name="RUNTIME_ID" val="ca3909ec-a699-4f7f-953e-81848ddafd76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5gsAAAAAAAAAAAAAIAD///////////////8AAAD///////////////8DAAAAAgD///////8DAAAABA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pkPHsUphVNvbHBU1+n1nsEAAAAAAADAAAAAAADAAAABAADAAQA////////BQAAAAMAEAALuy/V3TWQe0Snq0sq2JNAtgQAAAABAAMAAAAEAAMAAAABAAMAAAAEAP///////wMAAAAAAP///////wMAAAAAAP///////wQAAgD///////8FAAAABAAQAAuKsJG3yFi3T56YLA2lKk6Y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mQ8exSmFU29scFTX6fWewREYXRhAAUAAAAAAk5hbWUADQAAAExpbmtEYXRhTGlzdAAQVmVyc2lvbgABAAAACUxhc3RXcml0ZQBRAp9llQEAAAABAP////9hAGEAAAAFX2lkABAAAAAEuy/V3TWQe0Snq0sq2JNAtgREYXRhAAUAAAAAAk5hbWUADQAAAExpbmtEYXRhTGlzdAAQVmVyc2lvbgAAAAAACUxhc3RXcml0ZQAbAp9llQEAAAACAP////9wAHAAAAAFX2lkABAAAAAEirCRt8hYt0+emCwNpSpOmANEYXRhABYAAAACUGVyc29uYWxJZAABAAAAAAACTmFtZQALAAAAUGVyc29uYWxJZAAQVmVyc2lvbgAAAAAACUxhc3RXcml0ZQCXAp9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QBAwAAAAMA////////DgAGTGlua0RhdGFMaXN0XzAEAAAAAQAFAAAAAAAFAAAAAgAFAAAAAAAFAAAABAAFAAAAAAAFAAAABAAFAAAAAAD///////8EAAMBAwAAAAQA////////DAAGUGVyc29uYWxJZF8wBAAAAAIABQAAAAIABQAAAAE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7634746021680"/>
  <p:tag name="EMPOWERCHARTSPROPERTIES_B_LENGTH" val="24576"/>
  <p:tag name="DOWN_MIGRATION_INITIAL_LAYOUT_REQUIRED" val="9.2.99"/>
  <p:tag name="RUNTIME_ID" val="3c4ce8d6-6f36-4138-8b71-78afe928eac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/gs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20q5zxvVzRLuI4WqB4EmcEEAAAAAAADAAAABAADAAAAAwADAAAAAAADAAAAAwADAAIA////////BQAAAAMAEAALkwhiixFf8EGJUCaQ7LTGQwQAAAABAAMAAAACAAMAAAABAAMAAAACAP///////wQAAQD///////8FAAAABAAQAAuEu1AYBYytSJNprRh3ElM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bSrnPG9XNEu4jhaoHgSZwQREYXRhAAUAAAAAAk5hbWUADQAAAExpbmtEYXRhTGlzdAAQVmVyc2lvbgAAAAAACUxhc3RXcml0ZQDlCrZllQEAAAABAP////9hAGEAAAAFX2lkABAAAAAEkwhiixFf8EGJUCaQ7LTGQwREYXRhAAUAAAAAAk5hbWUADQAAAExpbmtEYXRhTGlzdAAQVmVyc2lvbgABAAAACUxhc3RXcml0ZQDmCrZllQEAAAACAP////9wAHAAAAAFX2lkABAAAAAEhLtQGAWMrUiTaa0YdxJTEANEYXRhABYAAAACUGVyc29uYWxJZAABAAAAAAACTmFtZQALAAAAUGVyc29uYWxJZAAQVmVyc2lvbgAAAAAACUxhc3RXcml0ZQAFC7Z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IBAwAAAAMA////////DgAGTGlua0RhdGFMaXN0XzEEAAAAAQAFAAAAAgAFAAAABAAFAAAAAgAFAAAABAAEAAQBAwAAAAQA////////DAAGUGVyc29uYWxJZF8wBAAAAAIABQAAAAMABQAAAAEABQAAAAM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7649841039545"/>
  <p:tag name="EMPOWERCHARTSPROPERTIES_B_LENGTH" val="24576"/>
  <p:tag name="DOWN_MIGRATION_INITIAL_LAYOUT_REQUIRED" val="9.2.99"/>
  <p:tag name="RUNTIME_ID" val="ec07ca69-e0a5-4237-b171-f26ddca3d58b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8gsAAAAAAAAAAAAAIAD///////////////8AAAD////////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+5cJny0sH1Cp04wIlOCbqgEAAAAAAADAAAABAADAAAAAwADAAAABAD///////8DAAEA////////BQAAAAMAEAALP85N0TGx6EqixLPS/gIkmgQAAAABAAMAAAACAAMAAAABAAQAAwD///////8FAAAABAAQAAuYtAJQWrsAQp598LAvYpLhBAAAAAIAAwAAAAAAAw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7lwmfLSwfUKnTjAiU4JuqAREYXRhAAUAAAAAAk5hbWUADQAAAExpbmtEYXRhTGlzdAAQVmVyc2lvbgAAAAAACUxhc3RXcml0ZQBCC7ZllQEAAAABAP////9hAGEAAAAFX2lkABAAAAAEP85N0TGx6EqixLPS/gIkmgREYXRhAAUAAAAAAk5hbWUADQAAAExpbmtEYXRhTGlzdAAQVmVyc2lvbgABAAAACUxhc3RXcml0ZQBDC7ZllQEAAAACAP////9wAHAAAAAFX2lkABAAAAAEmLQCUFq7AEKeffCwL2KS4QNEYXRhABYAAAACUGVyc29uYWxJZAABAAAAAAACTmFtZQALAAAAUGVyc29uYWxJZAAQVmVyc2lvbgAAAAAACUxhc3RXcml0ZQBmC7Z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7649841954976"/>
  <p:tag name="EMPOWERCHARTSPROPERTIES_B_LENGTH" val="24576"/>
  <p:tag name="DOWN_MIGRATION_INITIAL_LAYOUT_REQUIRED" val="9.2.99"/>
  <p:tag name="RUNTIME_ID" val="179aade2-b598-4d86-88ae-75e90e53e54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8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8eq6RtDUyxGu6UHQ3S0wrYEAAAAAAADAAAAAAADAAAABAADAAAAAAD///////8DAAAAAAD///////8DAAAAAAD///////8DAAEA////////BQAAAAMAEAALN0Dnn4mMB0OhFbpfEMPBvQQAAAABAAMAAAAEAAMAAAABAAQAAQD///////8FAAAABAAQAAvYBE0uf8KHTLlVESSDQCx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x6rpG0NTLEa7pQdDdLTCtgREYXRhAAUAAAAAAk5hbWUADQAAAExpbmtEYXRhTGlzdAAQVmVyc2lvbgABAAAACUxhc3RXcml0ZQCZC7ZllQEAAAABAP////9hAGEAAAAFX2lkABAAAAAEN0Dnn4mMB0OhFbpfEMPBvQREYXRhAAUAAAAAAk5hbWUADQAAAExpbmtEYXRhTGlzdAAQVmVyc2lvbgAAAAAACUxhc3RXcml0ZQCXC7ZllQEAAAACAP////9wAHAAAAAFX2lkABAAAAAE2ARNLn/Ch0y5VREkg0AsQwNEYXRhABYAAAACUGVyc29uYWxJZAABAAAAAAACTmFtZQALAAAAUGVyc29uYWxJZAAQVmVyc2lvbgAAAAAACUxhc3RXcml0ZQCzC7Z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AD///////8FAAAAAAD///////8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7649842675162"/>
  <p:tag name="EMPOWERCHARTSPROPERTIES_B_LENGTH" val="24576"/>
  <p:tag name="DOWN_MIGRATION_INITIAL_LAYOUT_REQUIRED" val="9.2.99"/>
  <p:tag name="RUNTIME_ID" val="1f4fefd9-e1be-46a5-bac5-3874b6a84bb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QBAQEBAQEBAQEBAQEBAQMAAAAAAAAAAwAAAAMAAAAA/////wUAngsAAAAAAAAAAAAAIAD///////////////8AAAD///////////////8DAAAABAD///////8DAAAABAD///////8DAAAABA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xgFlkEuAPFNvKgW2HuyFqQEAAAAAAADAAAABAADAAAAAwADAAAABAADAAAAAwADAAAABAD///////8DAAAABAD///////8DAAIA////////BQAAAAMAEAALVHjMmsojqke+cvmp7+SmDwQAAAABAAMAAAACAAMAAAABAAMAAAACAP///////wQABwD///////8FAAAABAAQAAsvcBkWS6+ySZWeDHIhV/FwBAAAAAIAAwAAAAAAAwAAAAIAAwAAAAAAAwAAAAIAAwAAAAAAAwAAAAIAAwAAAAAAAwAAAAIA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GAWWQS4A8U28qBbYe7IWpAREYXRhAAUAAAAAAk5hbWUADQAAAExpbmtEYXRhTGlzdAAQVmVyc2lvbgABAAAACUxhc3RXcml0ZQChCrZllQEAAAABAP////9hAGEAAAAFX2lkABAAAAAEVHjMmsojqke+cvmp7+SmDwREYXRhAAUAAAAAAk5hbWUADQAAAExpbmtEYXRhTGlzdAAQVmVyc2lvbgAAAAAACUxhc3RXcml0ZQCdCrZllQEAAAACAP////9wAHAAAAAFX2lkABAAAAAEL3AZFkuvskmVngxyIVfxcANEYXRhABYAAAACUGVyc29uYWxJZAABAAAAAAACTmFtZQALAAAAUGVyc29uYWxJZAAQVmVyc2lvbgAAAAAACUxhc3RXcml0ZQC8CrZ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D///////8FAAAAAAD///////8FAAAAAAD///////8DAAIBAwAAAAMA////////DgAGTGlua0RhdGFMaXN0XzAEAAAAAQ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7649840140701"/>
  <p:tag name="EMPOWERCHARTSPROPERTIES_B_LENGTH" val="24576"/>
  <p:tag name="DOWN_MIGRATION_INITIAL_LAYOUT_REQUIRED" val="9.2.99"/>
  <p:tag name="RUNTIME_ID" val="ff183ea5-e322-43db-90eb-c8ff2d05fbab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COOjYX6JNIg8u6yrcW4mgEAAAAAAADAAAAAAADAAAABAADAAIA////////BQAAAAMAEAAL0VLZi7HtMUm/oGfhJUDsdAQAAAABAAMAAAAEAAMAAAABAAMAAAAAAP///////wQAAQD///////8FAAAABAAQAAvMNY5UL8TJT58fLRpQ/WOK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I46Nhfok0iDy7rKtxbiaAREYXRhAAUAAAAAAk5hbWUADQAAAExpbmtEYXRhTGlzdAAQVmVyc2lvbgABAAAACUxhc3RXcml0ZQALzdaElQEAAAABAP////9hAGEAAAAFX2lkABAAAAAE0VLZi7HtMUm/oGfhJUDsdAREYXRhAAUAAAAAAk5hbWUADQAAAExpbmtEYXRhTGlzdAAQVmVyc2lvbgAAAAAACUxhc3RXcml0ZQAKzdaElQEAAAACAP////9wAHAAAAAFX2lkABAAAAAEzDWOVC/EyU+fHy0aUP1jigNEYXRhABYAAAACUGVyc29uYWxJZAABAAAAAAACTmFtZQALAAAAUGVyc29uYWxJZAAQVmVyc2lvbgAAAAAACUxhc3RXcml0ZQAdzdaE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MBAwAAAAQA////////DAAGUGVyc29uYWxJZF8wBAAAAAIABQAAAAIABQAAAAEABQAAAAM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72872246197566"/>
  <p:tag name="EMPOWERCHARTSPROPERTIES_B_LENGTH" val="24576"/>
  <p:tag name="DOWN_MIGRATION_INITIAL_LAYOUT_REQUIRED" val="9.2.99"/>
  <p:tag name="RUNTIME_ID" val="c7d1d717-41af-4ccb-8d0d-1a403602cb2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jzUgThNFFCuomCDvBIQxsEAAAAAAADAAAAAAADAAAAAwADAAIA////////BQAAAAMAEAALeE2TRZsY0EWlw38JVk14WAQAAAABAAMAAAACAAMAAAAEAAMAAAAAAAMAAAAEAAQAAgD///////8FAAAABAAQAAvnRiOUdWflSaBExiPRQSFz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PNSBOE0UUK6iYIO8EhDGwREYXRhAAUAAAAAAk5hbWUADQAAAExpbmtEYXRhTGlzdAAQVmVyc2lvbgAAAAAACUxhc3RXcml0ZQAHjNxclQEAAAABAP////9wAHAAAAAFX2lkABAAAAAEeE2TRZsY0EWlw38JVk14WANEYXRhABYAAAACUGVyc29uYWxJZAABAAAAAAACTmFtZQALAAAAUGVyc29uYWxJZAAQVmVyc2lvbgAAAAAACUxhc3RXcml0ZQC/04IPjgEAAAACAP////9hAGEAAAAFX2lkABAAAAAE50YjlHVn5UmgRMYj0UEhcwREYXRhAAUAAAAAAk5hbWUADQAAAExpbmtEYXRhTGlzdAAQVmVyc2lvbgABAAAACUxhc3RXcml0ZQAHjN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QA////////BAACAQMAAAAEAP///////w4ABkxpbmtEYXRhTGlzdF8xBAAAAAIABQAAAAIABQAAAAM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25356793"/>
  <p:tag name="EMPOWERCHARTSPROPERTIES_B_LENGTH" val="24576"/>
  <p:tag name="DOWN_MIGRATION_INITIAL_LAYOUT_REQUIRED" val="9.2.99"/>
  <p:tag name="RUNTIME_ID" val="5bebaa78-5456-4a81-a952-5a62522271b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4RTdQATXnZAmg8MMGR4XdYEAAAAAAADAAAAAAADAAAAAwADAAIA////////BQAAAAMAEAALlC3tvbCnSkqgSLOmM/O52AQAAAABAAMAAAACAAMAAAAEAAMAAAAAAP///////wQAAQD///////8FAAAABAAQAAsnd4LFBCeaRrCylm2ikSvv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FN1ABNedkCaDwwwZHhd1gREYXRhAAUAAAAAAk5hbWUADQAAAExpbmtEYXRhTGlzdAAQVmVyc2lvbgABAAAACUxhc3RXcml0ZQDkxWRllQEAAAABAP////9hAGEAAAAFX2lkABAAAAAElC3tvbCnSkqgSLOmM/O52AREYXRhAAUAAAAAAk5hbWUADQAAAExpbmtEYXRhTGlzdAAQVmVyc2lvbgAAAAAACUxhc3RXcml0ZQDkxWRllQEAAAACAP////9wAHAAAAAFX2lkABAAAAAEJ3eCxQQnmkawspZtopEr7wNEYXRhABYAAAACUGVyc29uYWxJZAABAAAAAAACTmFtZQALAAAAUGVyc29uYWxJZAAQVmVyc2lvbgAAAAAACUxhc3RXcml0ZQD2xWR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QBAwAAAAQA////////DAAGUGVyc29uYWxJZF8wBAAAAAIABQAAAAIABQAAAAEABQAAAAM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DOWN_MIGRATION_INITIAL_LAYOUT_REQUIRED" val="9.2.99"/>
  <p:tag name="EMPOWERCHARTSPROPERTIES_LASTWRITEDATE" val="638767596579899308"/>
  <p:tag name="RUNTIME_ID" val="f585ad3d-de7c-4888-babb-f2a6f30815e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5gsAAAAAAAAAAAAAIAD///////////////8AAAD////////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SxHAjsHplLnm7ubIzlu0MEAAAAAAADAAAAAAADAAAAAwADAAAAAAADAAAABAADAAEA////////BQAAAAMAEAALwMdTsBGC9k+Oq5IpVhGMEgQAAAABAAMAAAACAAMAAAAEAAQABAD///////8FAAAABAAQAAulvT3xoRslQYtPifi9VO9QBAAAAAIAAwAAAAMAAwAAAAEAAwAAAAI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LEcCOwemUuebu5sjOW7QwREYXRhAAUAAAAAAk5hbWUADQAAAExpbmtEYXRhTGlzdAAQVmVyc2lvbgABAAAACUxhc3RXcml0ZQByhtxclQEAAAABAP////9hAGEAAAAFX2lkABAAAAAEwMdTsBGC9k+Oq5IpVhGMEgREYXRhAAUAAAAAAk5hbWUADQAAAExpbmtEYXRhTGlzdAAQVmVyc2lvbgAAAAAACUxhc3RXcml0ZQByhtxclQEAAAACAP////9wAHAAAAAFX2lkABAAAAAEpb098aEbJUGLT4n4vVTvUANEYXRhABYAAAACUGVyc29uYWxJZAABAAAAAAACTmFtZQALAAAAUGVyc29uYWxJZAAQVmVyc2lvbgAAAAAACUxhc3RXcml0ZQBQM/cSj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177871"/>
  <p:tag name="EMPOWERCHARTSPROPERTIES_B_LENGTH" val="24576"/>
  <p:tag name="DOWN_MIGRATION_INITIAL_LAYOUT_REQUIRED" val="9.2.99"/>
  <p:tag name="RUNTIME_ID" val="285613ca-eed9-46ee-bfd7-e1eb75c5d1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gzOKAoaONKmlN8KdJ27K0EAAAAAAADAAAAAAADAAAAAwADAAIA////////BQAAAAMAEAAL1AzMrQSInUmTaG6ajcmLOgQAAAABAAMAAAACAAMAAAAEAAMAAAAAAP///////wQAAQD///////8FAAAABAAQAAsc1mrSym0zQrODObrHKYi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DM4oCho40qaU3wp0nbsrQREYXRhAAUAAAAAAk5hbWUADQAAAExpbmtEYXRhTGlzdAAQVmVyc2lvbgAAAAAACUxhc3RXcml0ZQCmhtxclQEAAAABAP////9wAHAAAAAFX2lkABAAAAAE1AzMrQSInUmTaG6ajcmLOgNEYXRhABYAAAACUGVyc29uYWxJZAABAAAAAAACTmFtZQALAAAAUGVyc29uYWxJZAAQVmVyc2lvbgAAAAAACUxhc3RXcml0ZQDM/6TPjAEAAAACAP////9hAGEAAAAFX2lkABAAAAAEHNZq0sptM0Kzgzm6xymIvAREYXRhAAUAAAAAAk5hbWUADQAAAExpbmtEYXRhTGlzdAAQVmVyc2lvbgABAAAACUxhc3RXcml0ZQCtht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AA////////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595121"/>
  <p:tag name="EMPOWERCHARTSPROPERTIES_B_LENGTH" val="24576"/>
  <p:tag name="DOWN_MIGRATION_INITIAL_LAYOUT_REQUIRED" val="9.2.99"/>
  <p:tag name="RUNTIME_ID" val="7f3954e9-515e-42a5-af30-eb5072de872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jzUgThNFFCuomCDvBIQxsEAAAAAAADAAAAAAADAAAAAwADAAIA////////BQAAAAMAEAALeE2TRZsY0EWlw38JVk14WAQAAAABAAMAAAACAAMAAAAEAAMAAAAAAAMAAAAEAAQAAgD///////8FAAAABAAQAAvnRiOUdWflSaBExiPRQSFz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PNSBOE0UUK6iYIO8EhDGwREYXRhAAUAAAAAAk5hbWUADQAAAExpbmtEYXRhTGlzdAAQVmVyc2lvbgAAAAAACUxhc3RXcml0ZQAHjNxclQEAAAABAP////9wAHAAAAAFX2lkABAAAAAEeE2TRZsY0EWlw38JVk14WANEYXRhABYAAAACUGVyc29uYWxJZAABAAAAAAACTmFtZQALAAAAUGVyc29uYWxJZAAQVmVyc2lvbgAAAAAACUxhc3RXcml0ZQC/04IPjgEAAAACAP////9hAGEAAAAFX2lkABAAAAAE50YjlHVn5UmgRMYj0UEhcwREYXRhAAUAAAAAAk5hbWUADQAAAExpbmtEYXRhTGlzdAAQVmVyc2lvbgABAAAACUxhc3RXcml0ZQAHjN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QA////////BAACAQMAAAAEAP///////w4ABkxpbmtEYXRhTGlzdF8xBAAAAAIABQAAAAIABQAAAAM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25356793"/>
  <p:tag name="EMPOWERCHARTSPROPERTIES_B_LENGTH" val="24576"/>
  <p:tag name="DOWN_MIGRATION_INITIAL_LAYOUT_REQUIRED" val="9.2.99"/>
  <p:tag name="RUNTIME_ID" val="6e2353e7-5690-4d99-9ed7-1d20ecbec9b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zzu8FfBT0hAveeEPh4SZ58EAAAAAAADAAAABAADAAAAAwADAAAAAAD///////8DAAEA////////BQAAAAMAEAALvwKbwZ9HskSyp4reA9q8HQQAAAABAAMAAAACAAMAAAABAAQAAQD///////8FAAAABAAQAAtt9Hcb4Q7lRbbcANYraOJa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PO7wV8FPSEC954Q+HhJnnwREYXRhAAUAAAAAAk5hbWUADQAAAExpbmtEYXRhTGlzdAAQVmVyc2lvbgAAAAAACUxhc3RXcml0ZQBg1mRllQEAAAABAP////9hAGEAAAAFX2lkABAAAAAEvwKbwZ9HskSyp4reA9q8HQREYXRhAAUAAAAAAk5hbWUADQAAAExpbmtEYXRhTGlzdAAQVmVyc2lvbgABAAAACUxhc3RXcml0ZQBh1mRllQEAAAACAP////9wAHAAAAAFX2lkABAAAAAEbfR3G+EO5UW23ADWK2jiWgNEYXRhABYAAAACUGVyc29uYWxJZAABAAAAAAACTmFtZQALAAAAUGVyc29uYWxJZAAQVmVyc2lvbgAAAAAACUxhc3RXcml0ZQBw1mR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DOWN_MIGRATION_INITIAL_LAYOUT_REQUIRED" val="9.2.99"/>
  <p:tag name="EMPOWERCHARTSPROPERTIES_LASTWRITEDATE" val="638767596622067407"/>
  <p:tag name="RUNTIME_ID" val="64e328d1-e19d-40b4-9709-04c5ae74794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5gsAAAAAAAAAAAAAIAD///////////////8AAAD////////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SxHAjsHplLnm7ubIzlu0MEAAAAAAADAAAAAAADAAAAAwADAAAAAAADAAAABAADAAEA////////BQAAAAMAEAALwMdTsBGC9k+Oq5IpVhGMEgQAAAABAAMAAAACAAMAAAAEAAQABAD///////8FAAAABAAQAAulvT3xoRslQYtPifi9VO9QBAAAAAIAAwAAAAMAAwAAAAEAAwAAAAI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LEcCOwemUuebu5sjOW7QwREYXRhAAUAAAAAAk5hbWUADQAAAExpbmtEYXRhTGlzdAAQVmVyc2lvbgABAAAACUxhc3RXcml0ZQByhtxclQEAAAABAP////9hAGEAAAAFX2lkABAAAAAEwMdTsBGC9k+Oq5IpVhGMEgREYXRhAAUAAAAAAk5hbWUADQAAAExpbmtEYXRhTGlzdAAQVmVyc2lvbgAAAAAACUxhc3RXcml0ZQByhtxclQEAAAACAP////9wAHAAAAAFX2lkABAAAAAEpb098aEbJUGLT4n4vVTvUANEYXRhABYAAAACUGVyc29uYWxJZAABAAAAAAACTmFtZQALAAAAUGVyc29uYWxJZAAQVmVyc2lvbgAAAAAACUxhc3RXcml0ZQBQM/cSj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177871"/>
  <p:tag name="EMPOWERCHARTSPROPERTIES_B_LENGTH" val="24576"/>
  <p:tag name="DOWN_MIGRATION_INITIAL_LAYOUT_REQUIRED" val="9.2.99"/>
  <p:tag name="RUNTIME_ID" val="e03f720c-9fa0-49eb-9e64-abab9118045f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gzOKAoaONKmlN8KdJ27K0EAAAAAAADAAAAAAADAAAAAwADAAIA////////BQAAAAMAEAAL1AzMrQSInUmTaG6ajcmLOgQAAAABAAMAAAACAAMAAAAEAAMAAAAAAP///////wQAAQD///////8FAAAABAAQAAsc1mrSym0zQrODObrHKYi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DM4oCho40qaU3wp0nbsrQREYXRhAAUAAAAAAk5hbWUADQAAAExpbmtEYXRhTGlzdAAQVmVyc2lvbgAAAAAACUxhc3RXcml0ZQCmhtxclQEAAAABAP////9wAHAAAAAFX2lkABAAAAAE1AzMrQSInUmTaG6ajcmLOgNEYXRhABYAAAACUGVyc29uYWxJZAABAAAAAAACTmFtZQALAAAAUGVyc29uYWxJZAAQVmVyc2lvbgAAAAAACUxhc3RXcml0ZQDM/6TPjAEAAAACAP////9hAGEAAAAFX2lkABAAAAAEHNZq0sptM0Kzgzm6xymIvAREYXRhAAUAAAAAAk5hbWUADQAAAExpbmtEYXRhTGlzdAAQVmVyc2lvbgABAAAACUxhc3RXcml0ZQCthtxc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AA////////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6165111595121"/>
  <p:tag name="EMPOWERCHARTSPROPERTIES_B_LENGTH" val="24576"/>
  <p:tag name="DOWN_MIGRATION_INITIAL_LAYOUT_REQUIRED" val="9.2.99"/>
  <p:tag name="RUNTIME_ID" val="e2b22d75-fbe8-4bec-a673-c5b8d3f4cde6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COOjYX6JNIg8u6yrcW4mgEAAAAAAADAAAAAAADAAAABAADAAIA////////BQAAAAMAEAAL0VLZi7HtMUm/oGfhJUDsdAQAAAABAAMAAAAEAAMAAAABAAMAAAAAAP///////wQAAQD///////8FAAAABAAQAAvMNY5UL8TJT58fLRpQ/WOK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I46Nhfok0iDy7rKtxbiaAREYXRhAAUAAAAAAk5hbWUADQAAAExpbmtEYXRhTGlzdAAQVmVyc2lvbgABAAAACUxhc3RXcml0ZQALzdaElQEAAAABAP////9hAGEAAAAFX2lkABAAAAAE0VLZi7HtMUm/oGfhJUDsdAREYXRhAAUAAAAAAk5hbWUADQAAAExpbmtEYXRhTGlzdAAQVmVyc2lvbgAAAAAACUxhc3RXcml0ZQAKzdaElQEAAAACAP////9wAHAAAAAFX2lkABAAAAAEzDWOVC/EyU+fHy0aUP1jigNEYXRhABYAAAACUGVyc29uYWxJZAABAAAAAAACTmFtZQALAAAAUGVyc29uYWxJZAAQVmVyc2lvbgAAAAAACUxhc3RXcml0ZQAdzdaE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MBAwAAAAQA////////DAAGUGVyc29uYWxJZF8wBAAAAAIABQAAAAIABQAAAAEABQAAAAM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72872246197566"/>
  <p:tag name="EMPOWERCHARTSPROPERTIES_B_LENGTH" val="24576"/>
  <p:tag name="DOWN_MIGRATION_INITIAL_LAYOUT_REQUIRED" val="9.2.99"/>
  <p:tag name="RUNTIME_ID" val="2e36478d-02fd-4eb0-8607-190562823a6b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aring Point Green - Blue">
  <a:themeElements>
    <a:clrScheme name="Custom 12">
      <a:dk1>
        <a:srgbClr val="000000"/>
      </a:dk1>
      <a:lt1>
        <a:sysClr val="window" lastClr="FFFFFF"/>
      </a:lt1>
      <a:dk2>
        <a:srgbClr val="023B88"/>
      </a:dk2>
      <a:lt2>
        <a:srgbClr val="93D522"/>
      </a:lt2>
      <a:accent1>
        <a:srgbClr val="023B88"/>
      </a:accent1>
      <a:accent2>
        <a:srgbClr val="93D522"/>
      </a:accent2>
      <a:accent3>
        <a:srgbClr val="E8E8E8"/>
      </a:accent3>
      <a:accent4>
        <a:srgbClr val="CDCDCD"/>
      </a:accent4>
      <a:accent5>
        <a:srgbClr val="949494"/>
      </a:accent5>
      <a:accent6>
        <a:srgbClr val="646464"/>
      </a:accent6>
      <a:hlink>
        <a:srgbClr val="023B88"/>
      </a:hlink>
      <a:folHlink>
        <a:srgbClr val="93D522"/>
      </a:folHlink>
    </a:clrScheme>
    <a:fontScheme name="Bearingpoi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B7B1A9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16-9 tmp_EN" id="{3035DA6A-5E5C-477B-903A-53D476DFD5F9}" vid="{B6BE74EF-A685-496D-9154-7B025CB2D08A}"/>
    </a:ext>
  </a:extLst>
</a:theme>
</file>

<file path=ppt/theme/theme2.xml><?xml version="1.0" encoding="utf-8"?>
<a:theme xmlns:a="http://schemas.openxmlformats.org/drawingml/2006/main" name="Bearing Point Blue - Purple">
  <a:themeElements>
    <a:clrScheme name="Custom 14">
      <a:dk1>
        <a:srgbClr val="000000"/>
      </a:dk1>
      <a:lt1>
        <a:sysClr val="window" lastClr="FFFFFF"/>
      </a:lt1>
      <a:dk2>
        <a:srgbClr val="6C03A8"/>
      </a:dk2>
      <a:lt2>
        <a:srgbClr val="29D5FF"/>
      </a:lt2>
      <a:accent1>
        <a:srgbClr val="6C03A8"/>
      </a:accent1>
      <a:accent2>
        <a:srgbClr val="29D5FF"/>
      </a:accent2>
      <a:accent3>
        <a:srgbClr val="E8E8E8"/>
      </a:accent3>
      <a:accent4>
        <a:srgbClr val="CDCDCD"/>
      </a:accent4>
      <a:accent5>
        <a:srgbClr val="949494"/>
      </a:accent5>
      <a:accent6>
        <a:srgbClr val="646464"/>
      </a:accent6>
      <a:hlink>
        <a:srgbClr val="6C03A8"/>
      </a:hlink>
      <a:folHlink>
        <a:srgbClr val="29D5FF"/>
      </a:folHlink>
    </a:clrScheme>
    <a:fontScheme name="Bearingpoi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B7B1A9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16-9 tmp_EN" id="{3035DA6A-5E5C-477B-903A-53D476DFD5F9}" vid="{49902EDF-0041-41BF-914A-E612BB08B93C}"/>
    </a:ext>
  </a:extLst>
</a:theme>
</file>

<file path=ppt/theme/theme3.xml><?xml version="1.0" encoding="utf-8"?>
<a:theme xmlns:a="http://schemas.openxmlformats.org/drawingml/2006/main" name="Bearing Point Pink - Purple">
  <a:themeElements>
    <a:clrScheme name="Custom 10">
      <a:dk1>
        <a:srgbClr val="000000"/>
      </a:dk1>
      <a:lt1>
        <a:sysClr val="window" lastClr="FFFFFF"/>
      </a:lt1>
      <a:dk2>
        <a:srgbClr val="520881"/>
      </a:dk2>
      <a:lt2>
        <a:srgbClr val="FF48A6"/>
      </a:lt2>
      <a:accent1>
        <a:srgbClr val="520881"/>
      </a:accent1>
      <a:accent2>
        <a:srgbClr val="FF48A6"/>
      </a:accent2>
      <a:accent3>
        <a:srgbClr val="E8E8E8"/>
      </a:accent3>
      <a:accent4>
        <a:srgbClr val="CDCDCD"/>
      </a:accent4>
      <a:accent5>
        <a:srgbClr val="949494"/>
      </a:accent5>
      <a:accent6>
        <a:srgbClr val="646464"/>
      </a:accent6>
      <a:hlink>
        <a:srgbClr val="520881"/>
      </a:hlink>
      <a:folHlink>
        <a:srgbClr val="FF48A6"/>
      </a:folHlink>
    </a:clrScheme>
    <a:fontScheme name="Bearingpoi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B7B1A9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16-9 tmp_EN" id="{3035DA6A-5E5C-477B-903A-53D476DFD5F9}" vid="{22AD64B9-19DA-4730-B3B0-8CEB874106DE}"/>
    </a:ext>
  </a:extLst>
</a:theme>
</file>

<file path=ppt/theme/theme4.xml><?xml version="1.0" encoding="utf-8"?>
<a:theme xmlns:a="http://schemas.openxmlformats.org/drawingml/2006/main" name="1_Beyond blue">
  <a:themeElements>
    <a:clrScheme name="Beyond Blue">
      <a:dk1>
        <a:sysClr val="windowText" lastClr="000000"/>
      </a:dk1>
      <a:lt1>
        <a:sysClr val="window" lastClr="FFFFFF"/>
      </a:lt1>
      <a:dk2>
        <a:srgbClr val="6C03A8"/>
      </a:dk2>
      <a:lt2>
        <a:srgbClr val="29D5FF"/>
      </a:lt2>
      <a:accent1>
        <a:srgbClr val="29D5FF"/>
      </a:accent1>
      <a:accent2>
        <a:srgbClr val="6C03A8"/>
      </a:accent2>
      <a:accent3>
        <a:srgbClr val="E8E8E8"/>
      </a:accent3>
      <a:accent4>
        <a:srgbClr val="CDCDCD"/>
      </a:accent4>
      <a:accent5>
        <a:srgbClr val="949494"/>
      </a:accent5>
      <a:accent6>
        <a:srgbClr val="646464"/>
      </a:accent6>
      <a:hlink>
        <a:srgbClr val="949494"/>
      </a:hlink>
      <a:folHlink>
        <a:srgbClr val="949494"/>
      </a:folHlink>
    </a:clrScheme>
    <a:fontScheme name="BearingPoi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_9 Beyond Template Sep 2019_final.pptx" id="{BE8CF038-9A9B-4286-9BA1-FF48F362340C}" vid="{AE7953A1-59BB-417C-A75A-204EFA7F8B0D}"/>
    </a:ext>
  </a:extLst>
</a:theme>
</file>

<file path=ppt/theme/theme5.xml><?xml version="1.0" encoding="utf-8"?>
<a:theme xmlns:a="http://schemas.openxmlformats.org/drawingml/2006/main" name="GreenBlue">
  <a:themeElements>
    <a:clrScheme name="Custom 15">
      <a:dk1>
        <a:srgbClr val="000000"/>
      </a:dk1>
      <a:lt1>
        <a:sysClr val="window" lastClr="FFFFFF"/>
      </a:lt1>
      <a:dk2>
        <a:srgbClr val="023B88"/>
      </a:dk2>
      <a:lt2>
        <a:srgbClr val="93D522"/>
      </a:lt2>
      <a:accent1>
        <a:srgbClr val="023B88"/>
      </a:accent1>
      <a:accent2>
        <a:srgbClr val="93D522"/>
      </a:accent2>
      <a:accent3>
        <a:srgbClr val="E8E8E8"/>
      </a:accent3>
      <a:accent4>
        <a:srgbClr val="CDCDCD"/>
      </a:accent4>
      <a:accent5>
        <a:srgbClr val="949494"/>
      </a:accent5>
      <a:accent6>
        <a:srgbClr val="646464"/>
      </a:accent6>
      <a:hlink>
        <a:srgbClr val="023B88"/>
      </a:hlink>
      <a:folHlink>
        <a:srgbClr val="93D522"/>
      </a:folHlink>
    </a:clrScheme>
    <a:fontScheme name="Bearingpoi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err="1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B7B1A9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reenBlue" id="{B47F0AFF-B780-4DED-8E84-F8D08D13E96C}" vid="{5E86AFB6-7858-46E5-AE03-9EB8F735B04B}"/>
    </a:ext>
  </a:extLst>
</a:theme>
</file>

<file path=ppt/theme/theme6.xml><?xml version="1.0" encoding="utf-8"?>
<a:theme xmlns:a="http://schemas.openxmlformats.org/drawingml/2006/main" name="2_Beyond blue">
  <a:themeElements>
    <a:clrScheme name="Beyond Blue">
      <a:dk1>
        <a:sysClr val="windowText" lastClr="000000"/>
      </a:dk1>
      <a:lt1>
        <a:sysClr val="window" lastClr="FFFFFF"/>
      </a:lt1>
      <a:dk2>
        <a:srgbClr val="6C03A8"/>
      </a:dk2>
      <a:lt2>
        <a:srgbClr val="29D5FF"/>
      </a:lt2>
      <a:accent1>
        <a:srgbClr val="29D5FF"/>
      </a:accent1>
      <a:accent2>
        <a:srgbClr val="6C03A8"/>
      </a:accent2>
      <a:accent3>
        <a:srgbClr val="E8E8E8"/>
      </a:accent3>
      <a:accent4>
        <a:srgbClr val="CDCDCD"/>
      </a:accent4>
      <a:accent5>
        <a:srgbClr val="949494"/>
      </a:accent5>
      <a:accent6>
        <a:srgbClr val="646464"/>
      </a:accent6>
      <a:hlink>
        <a:srgbClr val="949494"/>
      </a:hlink>
      <a:folHlink>
        <a:srgbClr val="949494"/>
      </a:folHlink>
    </a:clrScheme>
    <a:fontScheme name="BearingPoi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_9 Beyond Template Sep 2019_final.pptx" id="{BE8CF038-9A9B-4286-9BA1-FF48F362340C}" vid="{AE7953A1-59BB-417C-A75A-204EFA7F8B0D}"/>
    </a:ext>
  </a:extLst>
</a:theme>
</file>

<file path=ppt/theme/theme7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3990D9DA3D134A9B78FF52FB51B3D4" ma:contentTypeVersion="16" ma:contentTypeDescription="Create a new document." ma:contentTypeScope="" ma:versionID="a13bb354be148ee688a31119b36e5211">
  <xsd:schema xmlns:xsd="http://www.w3.org/2001/XMLSchema" xmlns:xs="http://www.w3.org/2001/XMLSchema" xmlns:p="http://schemas.microsoft.com/office/2006/metadata/properties" xmlns:ns2="4411b92a-2cfc-4e44-a6e5-5fde56f5d4ed" xmlns:ns3="406462a3-1dc2-4ef0-9deb-6f1d5b380c51" xmlns:ns4="484c8c59-755d-4516-b8d2-1621b38262b4" targetNamespace="http://schemas.microsoft.com/office/2006/metadata/properties" ma:root="true" ma:fieldsID="2827e28f71302edeaf57fdb476048d7a" ns2:_="" ns3:_="" ns4:_="">
    <xsd:import namespace="4411b92a-2cfc-4e44-a6e5-5fde56f5d4ed"/>
    <xsd:import namespace="406462a3-1dc2-4ef0-9deb-6f1d5b380c51"/>
    <xsd:import namespace="484c8c59-755d-4516-b8d2-1621b38262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11b92a-2cfc-4e44-a6e5-5fde56f5d4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a8e8d813-e4e5-48d0-aeb8-e19ab3349c6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6462a3-1dc2-4ef0-9deb-6f1d5b380c5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4c8c59-755d-4516-b8d2-1621b38262b4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a9f17d21-469d-4f53-aa9f-a0e192067cff}" ma:internalName="TaxCatchAll" ma:showField="CatchAllData" ma:web="406462a3-1dc2-4ef0-9deb-6f1d5b380c5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84c8c59-755d-4516-b8d2-1621b38262b4" xsi:nil="true"/>
    <lcf76f155ced4ddcb4097134ff3c332f xmlns="4411b92a-2cfc-4e44-a6e5-5fde56f5d4e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FF8DC03-2407-4730-9223-E092898B4021}">
  <ds:schemaRefs>
    <ds:schemaRef ds:uri="406462a3-1dc2-4ef0-9deb-6f1d5b380c51"/>
    <ds:schemaRef ds:uri="4411b92a-2cfc-4e44-a6e5-5fde56f5d4ed"/>
    <ds:schemaRef ds:uri="484c8c59-755d-4516-b8d2-1621b38262b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A729509-6F15-4C08-A29F-58F7E41AA2E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2F84AA-F617-4BC1-8C58-8B5E1BE40B78}">
  <ds:schemaRefs>
    <ds:schemaRef ds:uri="http://schemas.microsoft.com/office/2006/documentManagement/types"/>
    <ds:schemaRef ds:uri="4411b92a-2cfc-4e44-a6e5-5fde56f5d4ed"/>
    <ds:schemaRef ds:uri="406462a3-1dc2-4ef0-9deb-6f1d5b380c51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484c8c59-755d-4516-b8d2-1621b38262b4"/>
    <ds:schemaRef ds:uri="http://schemas.microsoft.com/office/2006/metadata/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40910_Procurement AI Summit_Master</Template>
  <TotalTime>0</TotalTime>
  <Words>1908</Words>
  <Application>Microsoft Office PowerPoint</Application>
  <PresentationFormat>Breitbild</PresentationFormat>
  <Paragraphs>517</Paragraphs>
  <Slides>19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9</vt:i4>
      </vt:variant>
    </vt:vector>
  </HeadingPairs>
  <TitlesOfParts>
    <vt:vector size="38" baseType="lpstr">
      <vt:lpstr>Arial</vt:lpstr>
      <vt:lpstr>BearingPoint Sans Cyrillic</vt:lpstr>
      <vt:lpstr>BearingPoint Sans Latin</vt:lpstr>
      <vt:lpstr>Calibri</vt:lpstr>
      <vt:lpstr>Calibri Light</vt:lpstr>
      <vt:lpstr>Courier New</vt:lpstr>
      <vt:lpstr>FS Albert Pro</vt:lpstr>
      <vt:lpstr>Montserrat</vt:lpstr>
      <vt:lpstr>Segoe UI</vt:lpstr>
      <vt:lpstr>Verdana</vt:lpstr>
      <vt:lpstr>Wingdings</vt:lpstr>
      <vt:lpstr>Bearing Point Green - Blue</vt:lpstr>
      <vt:lpstr>Bearing Point Blue - Purple</vt:lpstr>
      <vt:lpstr>Bearing Point Pink - Purple</vt:lpstr>
      <vt:lpstr>1_Beyond blue</vt:lpstr>
      <vt:lpstr>GreenBlue</vt:lpstr>
      <vt:lpstr>2_Beyond blue</vt:lpstr>
      <vt:lpstr>think-cell Slide</vt:lpstr>
      <vt:lpstr>think-cell Folie</vt:lpstr>
      <vt:lpstr>PowerPoint-Präsentation</vt:lpstr>
      <vt:lpstr>PowerPoint-Präsentation</vt:lpstr>
      <vt:lpstr>How are Procurement Organizations preparing for the (Gen)AI Revolution?</vt:lpstr>
      <vt:lpstr>What the (Vendor) Market has to offer for (Gen)AI in Procurement</vt:lpstr>
      <vt:lpstr>What are the Use Cases showing most Potential for Procurement?</vt:lpstr>
      <vt:lpstr>What are the Use Cases showing most Potential for Procurement?</vt:lpstr>
      <vt:lpstr>What are the Use Cases showing most Potential for Procurement?</vt:lpstr>
      <vt:lpstr>Three top Use Cases that already worked for our clients and created tangible value</vt:lpstr>
      <vt:lpstr>Use Case: CONTRACT READING &amp; -ANALYSIS </vt:lpstr>
      <vt:lpstr>Use Case: CONTRACT READING &amp; -ANALYSIS</vt:lpstr>
      <vt:lpstr>Use Case: CONTRACT READING &amp; -ANALYSIS</vt:lpstr>
      <vt:lpstr>Use Case: CONTRACT READING &amp; -ANALYSIS</vt:lpstr>
      <vt:lpstr>PowerPoint-Präsentation</vt:lpstr>
      <vt:lpstr>Empower Procurement with Precision: Transform Data into Strategic Insights</vt:lpstr>
      <vt:lpstr>What are the top three Benefits you seek from the Usage of GenAI in Procurement?</vt:lpstr>
      <vt:lpstr>What are the most promising AI Use Cases for Procurement?</vt:lpstr>
      <vt:lpstr>Which measures are most important to prepare for an AI Implementation?</vt:lpstr>
      <vt:lpstr>From Hype to Reality – Let‘s boost value in procurement!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becca Hammer</dc:creator>
  <cp:keywords>Slidor</cp:keywords>
  <cp:lastModifiedBy>Rebecca Hammer</cp:lastModifiedBy>
  <cp:revision>1</cp:revision>
  <dcterms:created xsi:type="dcterms:W3CDTF">2024-08-29T09:04:14Z</dcterms:created>
  <dcterms:modified xsi:type="dcterms:W3CDTF">2025-06-25T20:38:4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3990D9DA3D134A9B78FF52FB51B3D4</vt:lpwstr>
  </property>
  <property fmtid="{D5CDD505-2E9C-101B-9397-08002B2CF9AE}" pid="3" name="Order">
    <vt:r8>112800</vt:r8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URL">
    <vt:lpwstr/>
  </property>
  <property fmtid="{D5CDD505-2E9C-101B-9397-08002B2CF9AE}" pid="8" name="MediaServiceImageTags">
    <vt:lpwstr/>
  </property>
</Properties>
</file>